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573" r:id="rId5"/>
    <p:sldId id="589" r:id="rId6"/>
    <p:sldId id="605" r:id="rId7"/>
    <p:sldId id="574" r:id="rId8"/>
    <p:sldId id="596" r:id="rId9"/>
    <p:sldId id="568" r:id="rId10"/>
    <p:sldId id="592" r:id="rId11"/>
    <p:sldId id="595" r:id="rId12"/>
    <p:sldId id="594" r:id="rId13"/>
    <p:sldId id="599" r:id="rId14"/>
    <p:sldId id="600" r:id="rId15"/>
    <p:sldId id="601" r:id="rId16"/>
    <p:sldId id="602" r:id="rId17"/>
    <p:sldId id="583" r:id="rId18"/>
    <p:sldId id="603" r:id="rId19"/>
    <p:sldId id="587" r:id="rId20"/>
    <p:sldId id="284" r:id="rId21"/>
    <p:sldId id="582" r:id="rId22"/>
    <p:sldId id="604" r:id="rId23"/>
    <p:sldId id="597" r:id="rId24"/>
    <p:sldId id="591" r:id="rId25"/>
    <p:sldId id="584" r:id="rId26"/>
    <p:sldId id="598" r:id="rId27"/>
    <p:sldId id="593" r:id="rId28"/>
  </p:sldIdLst>
  <p:sldSz cx="11520488" cy="6480175"/>
  <p:notesSz cx="6858000" cy="9144000"/>
  <p:custDataLst>
    <p:tags r:id="rId31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45"/>
  </p:normalViewPr>
  <p:slideViewPr>
    <p:cSldViewPr>
      <p:cViewPr varScale="1">
        <p:scale>
          <a:sx n="91" d="100"/>
          <a:sy n="91" d="100"/>
        </p:scale>
        <p:origin x="562" y="53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11/30/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30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9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1951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4939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65812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27268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46221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9200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9660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5540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76420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5335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84248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4594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0508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32513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8540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1465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934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2685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141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2146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5010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310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862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9E629CF-F68E-4372-8E35-97E8F0BE4855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52C9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backgroun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AV  11/2023  </a:t>
            </a:r>
            <a:r>
              <a:rPr lang="en-US" dirty="0" err="1"/>
              <a:t>CoffeeDriver</a:t>
            </a:r>
            <a:r>
              <a:rPr lang="en-US" dirty="0"/>
              <a:t>, SDV Hackathon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9817FAA7-6677-4C16-930F-CC3620EA7EC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657D87E-7DAB-4F23-9A31-CE4DF3A2E9C0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261F0D0-EEA9-454C-9C7D-D00A35C8D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10890F0-47A4-401D-8C43-F1761620FF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649" userDrawn="1">
          <p15:clr>
            <a:srgbClr val="FBAE40"/>
          </p15:clr>
        </p15:guide>
        <p15:guide id="12" pos="487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607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40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590" userDrawn="1">
          <p15:clr>
            <a:srgbClr val="F26B43"/>
          </p15:clr>
        </p15:guide>
        <p15:guide id="5" orient="horz" pos="816" userDrawn="1">
          <p15:clr>
            <a:srgbClr val="F26B43"/>
          </p15:clr>
        </p15:guide>
        <p15:guide id="6" orient="horz" pos="36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svg"/><Relationship Id="rId18" Type="http://schemas.openxmlformats.org/officeDocument/2006/relationships/image" Target="../media/image4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sv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svg"/><Relationship Id="rId11" Type="http://schemas.openxmlformats.org/officeDocument/2006/relationships/image" Target="../media/image40.svg"/><Relationship Id="rId5" Type="http://schemas.openxmlformats.org/officeDocument/2006/relationships/image" Target="../media/image34.png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19" Type="http://schemas.openxmlformats.org/officeDocument/2006/relationships/image" Target="../media/image48.svg"/><Relationship Id="rId4" Type="http://schemas.openxmlformats.org/officeDocument/2006/relationships/image" Target="../media/image33.svg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Guardian Angel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751809"/>
          </a:xfrm>
        </p:spPr>
        <p:txBody>
          <a:bodyPr/>
          <a:lstStyle/>
          <a:p>
            <a:r>
              <a:rPr lang="en-US" dirty="0"/>
              <a:t>SDV Hackathon 2023 / „Hack the car“ challenge</a:t>
            </a:r>
          </a:p>
          <a:p>
            <a:endParaRPr lang="en-US" dirty="0"/>
          </a:p>
          <a:p>
            <a:r>
              <a:rPr lang="en-US" dirty="0"/>
              <a:t>Munich, November 2023</a:t>
            </a:r>
          </a:p>
        </p:txBody>
      </p:sp>
      <p:grpSp>
        <p:nvGrpSpPr>
          <p:cNvPr id="3" name="Gruppieren 1">
            <a:extLst>
              <a:ext uri="{FF2B5EF4-FFF2-40B4-BE49-F238E27FC236}">
                <a16:creationId xmlns:a16="http://schemas.microsoft.com/office/drawing/2014/main" id="{B62B2AA7-27AE-01A0-737F-505733245F9D}"/>
              </a:ext>
            </a:extLst>
          </p:cNvPr>
          <p:cNvGrpSpPr/>
          <p:nvPr/>
        </p:nvGrpSpPr>
        <p:grpSpPr>
          <a:xfrm>
            <a:off x="5349195" y="4993334"/>
            <a:ext cx="1661620" cy="621192"/>
            <a:chOff x="3160936" y="2387989"/>
            <a:chExt cx="3989835" cy="1359911"/>
          </a:xfrm>
        </p:grpSpPr>
        <p:grpSp>
          <p:nvGrpSpPr>
            <p:cNvPr id="9" name="Grafik 4">
              <a:extLst>
                <a:ext uri="{FF2B5EF4-FFF2-40B4-BE49-F238E27FC236}">
                  <a16:creationId xmlns:a16="http://schemas.microsoft.com/office/drawing/2014/main" id="{7EC8F1B4-711C-E5F6-4D52-23B98E5D8CB8}"/>
                </a:ext>
              </a:extLst>
            </p:cNvPr>
            <p:cNvGrpSpPr/>
            <p:nvPr/>
          </p:nvGrpSpPr>
          <p:grpSpPr>
            <a:xfrm>
              <a:off x="3160936" y="2387989"/>
              <a:ext cx="3842305" cy="1359911"/>
              <a:chOff x="3160936" y="2387989"/>
              <a:chExt cx="3842305" cy="1359911"/>
            </a:xfrm>
            <a:solidFill>
              <a:schemeClr val="bg1"/>
            </a:solidFill>
          </p:grpSpPr>
          <p:grpSp>
            <p:nvGrpSpPr>
              <p:cNvPr id="14" name="Grafik 4">
                <a:extLst>
                  <a:ext uri="{FF2B5EF4-FFF2-40B4-BE49-F238E27FC236}">
                    <a16:creationId xmlns:a16="http://schemas.microsoft.com/office/drawing/2014/main" id="{3374DDB1-438F-E6DA-4799-8E0AD15BE321}"/>
                  </a:ext>
                </a:extLst>
              </p:cNvPr>
              <p:cNvGrpSpPr/>
              <p:nvPr/>
            </p:nvGrpSpPr>
            <p:grpSpPr>
              <a:xfrm>
                <a:off x="3350963" y="2387989"/>
                <a:ext cx="3652278" cy="925521"/>
                <a:chOff x="3350963" y="2387989"/>
                <a:chExt cx="3652278" cy="925521"/>
              </a:xfrm>
              <a:grpFill/>
            </p:grpSpPr>
            <p:sp>
              <p:nvSpPr>
                <p:cNvPr id="50" name="Freihandform: Form 41">
                  <a:extLst>
                    <a:ext uri="{FF2B5EF4-FFF2-40B4-BE49-F238E27FC236}">
                      <a16:creationId xmlns:a16="http://schemas.microsoft.com/office/drawing/2014/main" id="{A0603BB8-3D63-0D43-31D4-7186100F0B30}"/>
                    </a:ext>
                  </a:extLst>
                </p:cNvPr>
                <p:cNvSpPr/>
                <p:nvPr/>
              </p:nvSpPr>
              <p:spPr>
                <a:xfrm>
                  <a:off x="3350963" y="2387989"/>
                  <a:ext cx="3183214" cy="925521"/>
                </a:xfrm>
                <a:custGeom>
                  <a:avLst/>
                  <a:gdLst>
                    <a:gd name="connsiteX0" fmla="*/ 3183214 w 3183214"/>
                    <a:gd name="connsiteY0" fmla="*/ 265425 h 925521"/>
                    <a:gd name="connsiteX1" fmla="*/ 3179431 w 3183214"/>
                    <a:gd name="connsiteY1" fmla="*/ 265425 h 925521"/>
                    <a:gd name="connsiteX2" fmla="*/ 2784130 w 3183214"/>
                    <a:gd name="connsiteY2" fmla="*/ 138702 h 925521"/>
                    <a:gd name="connsiteX3" fmla="*/ 2574816 w 3183214"/>
                    <a:gd name="connsiteY3" fmla="*/ 88265 h 925521"/>
                    <a:gd name="connsiteX4" fmla="*/ 2521857 w 3183214"/>
                    <a:gd name="connsiteY4" fmla="*/ 78178 h 925521"/>
                    <a:gd name="connsiteX5" fmla="*/ 2495378 w 3183214"/>
                    <a:gd name="connsiteY5" fmla="*/ 73764 h 925521"/>
                    <a:gd name="connsiteX6" fmla="*/ 2468898 w 3183214"/>
                    <a:gd name="connsiteY6" fmla="*/ 69982 h 925521"/>
                    <a:gd name="connsiteX7" fmla="*/ 2442419 w 3183214"/>
                    <a:gd name="connsiteY7" fmla="*/ 66199 h 925521"/>
                    <a:gd name="connsiteX8" fmla="*/ 2415939 w 3183214"/>
                    <a:gd name="connsiteY8" fmla="*/ 63046 h 925521"/>
                    <a:gd name="connsiteX9" fmla="*/ 2362980 w 3183214"/>
                    <a:gd name="connsiteY9" fmla="*/ 57372 h 925521"/>
                    <a:gd name="connsiteX10" fmla="*/ 2336501 w 3183214"/>
                    <a:gd name="connsiteY10" fmla="*/ 54850 h 925521"/>
                    <a:gd name="connsiteX11" fmla="*/ 2310021 w 3183214"/>
                    <a:gd name="connsiteY11" fmla="*/ 52959 h 925521"/>
                    <a:gd name="connsiteX12" fmla="*/ 2257062 w 3183214"/>
                    <a:gd name="connsiteY12" fmla="*/ 50437 h 925521"/>
                    <a:gd name="connsiteX13" fmla="*/ 2204103 w 3183214"/>
                    <a:gd name="connsiteY13" fmla="*/ 49807 h 925521"/>
                    <a:gd name="connsiteX14" fmla="*/ 2151144 w 3183214"/>
                    <a:gd name="connsiteY14" fmla="*/ 51698 h 925521"/>
                    <a:gd name="connsiteX15" fmla="*/ 1941830 w 3183214"/>
                    <a:gd name="connsiteY15" fmla="*/ 83852 h 925521"/>
                    <a:gd name="connsiteX16" fmla="*/ 1738190 w 3183214"/>
                    <a:gd name="connsiteY16" fmla="*/ 150681 h 925521"/>
                    <a:gd name="connsiteX17" fmla="*/ 1542116 w 3183214"/>
                    <a:gd name="connsiteY17" fmla="*/ 244620 h 925521"/>
                    <a:gd name="connsiteX18" fmla="*/ 1494200 w 3183214"/>
                    <a:gd name="connsiteY18" fmla="*/ 271100 h 925521"/>
                    <a:gd name="connsiteX19" fmla="*/ 1446285 w 3183214"/>
                    <a:gd name="connsiteY19" fmla="*/ 298840 h 925521"/>
                    <a:gd name="connsiteX20" fmla="*/ 1399000 w 3183214"/>
                    <a:gd name="connsiteY20" fmla="*/ 327211 h 925521"/>
                    <a:gd name="connsiteX21" fmla="*/ 1351715 w 3183214"/>
                    <a:gd name="connsiteY21" fmla="*/ 356843 h 925521"/>
                    <a:gd name="connsiteX22" fmla="*/ 1253993 w 3183214"/>
                    <a:gd name="connsiteY22" fmla="*/ 412954 h 925521"/>
                    <a:gd name="connsiteX23" fmla="*/ 1148706 w 3183214"/>
                    <a:gd name="connsiteY23" fmla="*/ 455195 h 925521"/>
                    <a:gd name="connsiteX24" fmla="*/ 1134836 w 3183214"/>
                    <a:gd name="connsiteY24" fmla="*/ 458978 h 925521"/>
                    <a:gd name="connsiteX25" fmla="*/ 1120966 w 3183214"/>
                    <a:gd name="connsiteY25" fmla="*/ 462130 h 925521"/>
                    <a:gd name="connsiteX26" fmla="*/ 1093856 w 3183214"/>
                    <a:gd name="connsiteY26" fmla="*/ 467804 h 925521"/>
                    <a:gd name="connsiteX27" fmla="*/ 1039005 w 3183214"/>
                    <a:gd name="connsiteY27" fmla="*/ 476001 h 925521"/>
                    <a:gd name="connsiteX28" fmla="*/ 930565 w 3183214"/>
                    <a:gd name="connsiteY28" fmla="*/ 485458 h 925521"/>
                    <a:gd name="connsiteX29" fmla="*/ 824647 w 3183214"/>
                    <a:gd name="connsiteY29" fmla="*/ 494914 h 925521"/>
                    <a:gd name="connsiteX30" fmla="*/ 718099 w 3183214"/>
                    <a:gd name="connsiteY30" fmla="*/ 510046 h 925521"/>
                    <a:gd name="connsiteX31" fmla="*/ 611550 w 3183214"/>
                    <a:gd name="connsiteY31" fmla="*/ 525807 h 925521"/>
                    <a:gd name="connsiteX32" fmla="*/ 506263 w 3183214"/>
                    <a:gd name="connsiteY32" fmla="*/ 545352 h 925521"/>
                    <a:gd name="connsiteX33" fmla="*/ 300101 w 3183214"/>
                    <a:gd name="connsiteY33" fmla="*/ 606507 h 925521"/>
                    <a:gd name="connsiteX34" fmla="*/ 115375 w 3183214"/>
                    <a:gd name="connsiteY34" fmla="*/ 723143 h 925521"/>
                    <a:gd name="connsiteX35" fmla="*/ 44763 w 3183214"/>
                    <a:gd name="connsiteY35" fmla="*/ 813929 h 925521"/>
                    <a:gd name="connsiteX36" fmla="*/ 0 w 3183214"/>
                    <a:gd name="connsiteY36" fmla="*/ 925522 h 925521"/>
                    <a:gd name="connsiteX37" fmla="*/ 38458 w 3183214"/>
                    <a:gd name="connsiteY37" fmla="*/ 809516 h 925521"/>
                    <a:gd name="connsiteX38" fmla="*/ 105918 w 3183214"/>
                    <a:gd name="connsiteY38" fmla="*/ 711164 h 925521"/>
                    <a:gd name="connsiteX39" fmla="*/ 193553 w 3183214"/>
                    <a:gd name="connsiteY39" fmla="*/ 636138 h 925521"/>
                    <a:gd name="connsiteX40" fmla="*/ 291274 w 3183214"/>
                    <a:gd name="connsiteY40" fmla="*/ 580027 h 925521"/>
                    <a:gd name="connsiteX41" fmla="*/ 394040 w 3183214"/>
                    <a:gd name="connsiteY41" fmla="*/ 539047 h 925521"/>
                    <a:gd name="connsiteX42" fmla="*/ 499328 w 3183214"/>
                    <a:gd name="connsiteY42" fmla="*/ 508154 h 925521"/>
                    <a:gd name="connsiteX43" fmla="*/ 605876 w 3183214"/>
                    <a:gd name="connsiteY43" fmla="*/ 484827 h 925521"/>
                    <a:gd name="connsiteX44" fmla="*/ 712425 w 3183214"/>
                    <a:gd name="connsiteY44" fmla="*/ 465283 h 925521"/>
                    <a:gd name="connsiteX45" fmla="*/ 818973 w 3183214"/>
                    <a:gd name="connsiteY45" fmla="*/ 446369 h 925521"/>
                    <a:gd name="connsiteX46" fmla="*/ 927413 w 3183214"/>
                    <a:gd name="connsiteY46" fmla="*/ 433759 h 925521"/>
                    <a:gd name="connsiteX47" fmla="*/ 1033961 w 3183214"/>
                    <a:gd name="connsiteY47" fmla="*/ 422411 h 925521"/>
                    <a:gd name="connsiteX48" fmla="*/ 1086290 w 3183214"/>
                    <a:gd name="connsiteY48" fmla="*/ 414215 h 925521"/>
                    <a:gd name="connsiteX49" fmla="*/ 1112139 w 3183214"/>
                    <a:gd name="connsiteY49" fmla="*/ 408541 h 925521"/>
                    <a:gd name="connsiteX50" fmla="*/ 1124748 w 3183214"/>
                    <a:gd name="connsiteY50" fmla="*/ 405389 h 925521"/>
                    <a:gd name="connsiteX51" fmla="*/ 1137358 w 3183214"/>
                    <a:gd name="connsiteY51" fmla="*/ 401606 h 925521"/>
                    <a:gd name="connsiteX52" fmla="*/ 1186534 w 3183214"/>
                    <a:gd name="connsiteY52" fmla="*/ 383953 h 925521"/>
                    <a:gd name="connsiteX53" fmla="*/ 1234449 w 3183214"/>
                    <a:gd name="connsiteY53" fmla="*/ 361256 h 925521"/>
                    <a:gd name="connsiteX54" fmla="*/ 1328388 w 3183214"/>
                    <a:gd name="connsiteY54" fmla="*/ 305775 h 925521"/>
                    <a:gd name="connsiteX55" fmla="*/ 1375673 w 3183214"/>
                    <a:gd name="connsiteY55" fmla="*/ 276143 h 925521"/>
                    <a:gd name="connsiteX56" fmla="*/ 1423588 w 3183214"/>
                    <a:gd name="connsiteY56" fmla="*/ 247142 h 925521"/>
                    <a:gd name="connsiteX57" fmla="*/ 1472134 w 3183214"/>
                    <a:gd name="connsiteY57" fmla="*/ 218771 h 925521"/>
                    <a:gd name="connsiteX58" fmla="*/ 1521310 w 3183214"/>
                    <a:gd name="connsiteY58" fmla="*/ 191661 h 925521"/>
                    <a:gd name="connsiteX59" fmla="*/ 1722429 w 3183214"/>
                    <a:gd name="connsiteY59" fmla="*/ 96461 h 925521"/>
                    <a:gd name="connsiteX60" fmla="*/ 1933004 w 3183214"/>
                    <a:gd name="connsiteY60" fmla="*/ 30262 h 925521"/>
                    <a:gd name="connsiteX61" fmla="*/ 2149883 w 3183214"/>
                    <a:gd name="connsiteY61" fmla="*/ 1261 h 925521"/>
                    <a:gd name="connsiteX62" fmla="*/ 2204734 w 3183214"/>
                    <a:gd name="connsiteY62" fmla="*/ 0 h 925521"/>
                    <a:gd name="connsiteX63" fmla="*/ 2259584 w 3183214"/>
                    <a:gd name="connsiteY63" fmla="*/ 1891 h 925521"/>
                    <a:gd name="connsiteX64" fmla="*/ 2313804 w 3183214"/>
                    <a:gd name="connsiteY64" fmla="*/ 6305 h 925521"/>
                    <a:gd name="connsiteX65" fmla="*/ 2340914 w 3183214"/>
                    <a:gd name="connsiteY65" fmla="*/ 8827 h 925521"/>
                    <a:gd name="connsiteX66" fmla="*/ 2368024 w 3183214"/>
                    <a:gd name="connsiteY66" fmla="*/ 11979 h 925521"/>
                    <a:gd name="connsiteX67" fmla="*/ 2421613 w 3183214"/>
                    <a:gd name="connsiteY67" fmla="*/ 19544 h 925521"/>
                    <a:gd name="connsiteX68" fmla="*/ 2448723 w 3183214"/>
                    <a:gd name="connsiteY68" fmla="*/ 23958 h 925521"/>
                    <a:gd name="connsiteX69" fmla="*/ 2475203 w 3183214"/>
                    <a:gd name="connsiteY69" fmla="*/ 29001 h 925521"/>
                    <a:gd name="connsiteX70" fmla="*/ 2501682 w 3183214"/>
                    <a:gd name="connsiteY70" fmla="*/ 34045 h 925521"/>
                    <a:gd name="connsiteX71" fmla="*/ 2528162 w 3183214"/>
                    <a:gd name="connsiteY71" fmla="*/ 39719 h 925521"/>
                    <a:gd name="connsiteX72" fmla="*/ 2581121 w 3183214"/>
                    <a:gd name="connsiteY72" fmla="*/ 51698 h 925521"/>
                    <a:gd name="connsiteX73" fmla="*/ 2791066 w 3183214"/>
                    <a:gd name="connsiteY73" fmla="*/ 112223 h 925521"/>
                    <a:gd name="connsiteX74" fmla="*/ 3183214 w 3183214"/>
                    <a:gd name="connsiteY74" fmla="*/ 265425 h 925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3183214" h="925521">
                      <a:moveTo>
                        <a:pt x="3183214" y="265425"/>
                      </a:moveTo>
                      <a:lnTo>
                        <a:pt x="3179431" y="265425"/>
                      </a:lnTo>
                      <a:cubicBezTo>
                        <a:pt x="3048295" y="220663"/>
                        <a:pt x="2917158" y="175269"/>
                        <a:pt x="2784130" y="138702"/>
                      </a:cubicBezTo>
                      <a:cubicBezTo>
                        <a:pt x="2714779" y="119158"/>
                        <a:pt x="2644798" y="102135"/>
                        <a:pt x="2574816" y="88265"/>
                      </a:cubicBezTo>
                      <a:cubicBezTo>
                        <a:pt x="2557163" y="84482"/>
                        <a:pt x="2539510" y="81960"/>
                        <a:pt x="2521857" y="78178"/>
                      </a:cubicBezTo>
                      <a:cubicBezTo>
                        <a:pt x="2513031" y="76917"/>
                        <a:pt x="2504204" y="75025"/>
                        <a:pt x="2495378" y="73764"/>
                      </a:cubicBezTo>
                      <a:lnTo>
                        <a:pt x="2468898" y="69982"/>
                      </a:lnTo>
                      <a:lnTo>
                        <a:pt x="2442419" y="66199"/>
                      </a:lnTo>
                      <a:cubicBezTo>
                        <a:pt x="2433592" y="64938"/>
                        <a:pt x="2424766" y="64307"/>
                        <a:pt x="2415939" y="63046"/>
                      </a:cubicBezTo>
                      <a:cubicBezTo>
                        <a:pt x="2398286" y="61155"/>
                        <a:pt x="2380633" y="58633"/>
                        <a:pt x="2362980" y="57372"/>
                      </a:cubicBezTo>
                      <a:lnTo>
                        <a:pt x="2336501" y="54850"/>
                      </a:lnTo>
                      <a:cubicBezTo>
                        <a:pt x="2327674" y="54220"/>
                        <a:pt x="2318848" y="52959"/>
                        <a:pt x="2310021" y="52959"/>
                      </a:cubicBezTo>
                      <a:cubicBezTo>
                        <a:pt x="2292368" y="52329"/>
                        <a:pt x="2274715" y="51068"/>
                        <a:pt x="2257062" y="50437"/>
                      </a:cubicBezTo>
                      <a:lnTo>
                        <a:pt x="2204103" y="49807"/>
                      </a:lnTo>
                      <a:cubicBezTo>
                        <a:pt x="2186450" y="50437"/>
                        <a:pt x="2168797" y="51068"/>
                        <a:pt x="2151144" y="51698"/>
                      </a:cubicBezTo>
                      <a:cubicBezTo>
                        <a:pt x="2080532" y="56111"/>
                        <a:pt x="2010551" y="66829"/>
                        <a:pt x="1941830" y="83852"/>
                      </a:cubicBezTo>
                      <a:cubicBezTo>
                        <a:pt x="1873109" y="100874"/>
                        <a:pt x="1805019" y="122941"/>
                        <a:pt x="1738190" y="150681"/>
                      </a:cubicBezTo>
                      <a:cubicBezTo>
                        <a:pt x="1671361" y="177791"/>
                        <a:pt x="1606423" y="209314"/>
                        <a:pt x="1542116" y="244620"/>
                      </a:cubicBezTo>
                      <a:cubicBezTo>
                        <a:pt x="1526354" y="253447"/>
                        <a:pt x="1509962" y="261643"/>
                        <a:pt x="1494200" y="271100"/>
                      </a:cubicBezTo>
                      <a:cubicBezTo>
                        <a:pt x="1478439" y="280557"/>
                        <a:pt x="1462047" y="289383"/>
                        <a:pt x="1446285" y="298840"/>
                      </a:cubicBezTo>
                      <a:cubicBezTo>
                        <a:pt x="1430523" y="308297"/>
                        <a:pt x="1414762" y="317754"/>
                        <a:pt x="1399000" y="327211"/>
                      </a:cubicBezTo>
                      <a:lnTo>
                        <a:pt x="1351715" y="356843"/>
                      </a:lnTo>
                      <a:cubicBezTo>
                        <a:pt x="1320192" y="376387"/>
                        <a:pt x="1287408" y="395932"/>
                        <a:pt x="1253993" y="412954"/>
                      </a:cubicBezTo>
                      <a:cubicBezTo>
                        <a:pt x="1220579" y="429977"/>
                        <a:pt x="1185273" y="445108"/>
                        <a:pt x="1148706" y="455195"/>
                      </a:cubicBezTo>
                      <a:lnTo>
                        <a:pt x="1134836" y="458978"/>
                      </a:lnTo>
                      <a:lnTo>
                        <a:pt x="1120966" y="462130"/>
                      </a:lnTo>
                      <a:cubicBezTo>
                        <a:pt x="1112139" y="464652"/>
                        <a:pt x="1102682" y="465913"/>
                        <a:pt x="1093856" y="467804"/>
                      </a:cubicBezTo>
                      <a:cubicBezTo>
                        <a:pt x="1075572" y="470957"/>
                        <a:pt x="1057289" y="473479"/>
                        <a:pt x="1039005" y="476001"/>
                      </a:cubicBezTo>
                      <a:cubicBezTo>
                        <a:pt x="1002438" y="480414"/>
                        <a:pt x="966502" y="482936"/>
                        <a:pt x="930565" y="485458"/>
                      </a:cubicBezTo>
                      <a:cubicBezTo>
                        <a:pt x="894629" y="487979"/>
                        <a:pt x="859323" y="490501"/>
                        <a:pt x="824647" y="494914"/>
                      </a:cubicBezTo>
                      <a:lnTo>
                        <a:pt x="718099" y="510046"/>
                      </a:lnTo>
                      <a:cubicBezTo>
                        <a:pt x="682793" y="515089"/>
                        <a:pt x="646856" y="520133"/>
                        <a:pt x="611550" y="525807"/>
                      </a:cubicBezTo>
                      <a:cubicBezTo>
                        <a:pt x="576244" y="531481"/>
                        <a:pt x="540938" y="537786"/>
                        <a:pt x="506263" y="545352"/>
                      </a:cubicBezTo>
                      <a:cubicBezTo>
                        <a:pt x="436281" y="559852"/>
                        <a:pt x="366930" y="578766"/>
                        <a:pt x="300101" y="606507"/>
                      </a:cubicBezTo>
                      <a:cubicBezTo>
                        <a:pt x="233272" y="633617"/>
                        <a:pt x="169595" y="670814"/>
                        <a:pt x="115375" y="723143"/>
                      </a:cubicBezTo>
                      <a:cubicBezTo>
                        <a:pt x="88265" y="749622"/>
                        <a:pt x="64307" y="779884"/>
                        <a:pt x="44763" y="813929"/>
                      </a:cubicBezTo>
                      <a:cubicBezTo>
                        <a:pt x="25219" y="847974"/>
                        <a:pt x="10087" y="885802"/>
                        <a:pt x="0" y="925522"/>
                      </a:cubicBezTo>
                      <a:cubicBezTo>
                        <a:pt x="7566" y="885172"/>
                        <a:pt x="20175" y="846083"/>
                        <a:pt x="38458" y="809516"/>
                      </a:cubicBezTo>
                      <a:cubicBezTo>
                        <a:pt x="56742" y="773580"/>
                        <a:pt x="79438" y="740165"/>
                        <a:pt x="105918" y="711164"/>
                      </a:cubicBezTo>
                      <a:cubicBezTo>
                        <a:pt x="132398" y="682162"/>
                        <a:pt x="162029" y="657574"/>
                        <a:pt x="193553" y="636138"/>
                      </a:cubicBezTo>
                      <a:cubicBezTo>
                        <a:pt x="225076" y="614703"/>
                        <a:pt x="257860" y="596419"/>
                        <a:pt x="291274" y="580027"/>
                      </a:cubicBezTo>
                      <a:cubicBezTo>
                        <a:pt x="324689" y="564266"/>
                        <a:pt x="359365" y="551026"/>
                        <a:pt x="394040" y="539047"/>
                      </a:cubicBezTo>
                      <a:cubicBezTo>
                        <a:pt x="428716" y="527068"/>
                        <a:pt x="464022" y="516981"/>
                        <a:pt x="499328" y="508154"/>
                      </a:cubicBezTo>
                      <a:cubicBezTo>
                        <a:pt x="534634" y="499328"/>
                        <a:pt x="569940" y="491762"/>
                        <a:pt x="605876" y="484827"/>
                      </a:cubicBezTo>
                      <a:cubicBezTo>
                        <a:pt x="641182" y="477892"/>
                        <a:pt x="677119" y="471587"/>
                        <a:pt x="712425" y="465283"/>
                      </a:cubicBezTo>
                      <a:lnTo>
                        <a:pt x="818973" y="446369"/>
                      </a:lnTo>
                      <a:cubicBezTo>
                        <a:pt x="854910" y="440695"/>
                        <a:pt x="891476" y="436912"/>
                        <a:pt x="927413" y="433759"/>
                      </a:cubicBezTo>
                      <a:cubicBezTo>
                        <a:pt x="963349" y="430607"/>
                        <a:pt x="998655" y="427455"/>
                        <a:pt x="1033961" y="422411"/>
                      </a:cubicBezTo>
                      <a:cubicBezTo>
                        <a:pt x="1051615" y="419889"/>
                        <a:pt x="1068637" y="417367"/>
                        <a:pt x="1086290" y="414215"/>
                      </a:cubicBezTo>
                      <a:cubicBezTo>
                        <a:pt x="1095117" y="412324"/>
                        <a:pt x="1103313" y="411063"/>
                        <a:pt x="1112139" y="408541"/>
                      </a:cubicBezTo>
                      <a:lnTo>
                        <a:pt x="1124748" y="405389"/>
                      </a:lnTo>
                      <a:lnTo>
                        <a:pt x="1137358" y="401606"/>
                      </a:lnTo>
                      <a:cubicBezTo>
                        <a:pt x="1153750" y="396562"/>
                        <a:pt x="1170142" y="390888"/>
                        <a:pt x="1186534" y="383953"/>
                      </a:cubicBezTo>
                      <a:cubicBezTo>
                        <a:pt x="1202926" y="377018"/>
                        <a:pt x="1218688" y="369452"/>
                        <a:pt x="1234449" y="361256"/>
                      </a:cubicBezTo>
                      <a:cubicBezTo>
                        <a:pt x="1265972" y="344864"/>
                        <a:pt x="1297496" y="325320"/>
                        <a:pt x="1328388" y="305775"/>
                      </a:cubicBezTo>
                      <a:lnTo>
                        <a:pt x="1375673" y="276143"/>
                      </a:lnTo>
                      <a:cubicBezTo>
                        <a:pt x="1391435" y="266056"/>
                        <a:pt x="1407827" y="256599"/>
                        <a:pt x="1423588" y="247142"/>
                      </a:cubicBezTo>
                      <a:cubicBezTo>
                        <a:pt x="1439350" y="237055"/>
                        <a:pt x="1455742" y="228228"/>
                        <a:pt x="1472134" y="218771"/>
                      </a:cubicBezTo>
                      <a:cubicBezTo>
                        <a:pt x="1488526" y="209314"/>
                        <a:pt x="1504918" y="200488"/>
                        <a:pt x="1521310" y="191661"/>
                      </a:cubicBezTo>
                      <a:cubicBezTo>
                        <a:pt x="1586879" y="156355"/>
                        <a:pt x="1653708" y="124201"/>
                        <a:pt x="1722429" y="96461"/>
                      </a:cubicBezTo>
                      <a:cubicBezTo>
                        <a:pt x="1791149" y="69351"/>
                        <a:pt x="1861131" y="46024"/>
                        <a:pt x="1933004" y="30262"/>
                      </a:cubicBezTo>
                      <a:cubicBezTo>
                        <a:pt x="2004246" y="13870"/>
                        <a:pt x="2077380" y="3783"/>
                        <a:pt x="2149883" y="1261"/>
                      </a:cubicBezTo>
                      <a:cubicBezTo>
                        <a:pt x="2168167" y="630"/>
                        <a:pt x="2186450" y="630"/>
                        <a:pt x="2204734" y="0"/>
                      </a:cubicBezTo>
                      <a:lnTo>
                        <a:pt x="2259584" y="1891"/>
                      </a:lnTo>
                      <a:cubicBezTo>
                        <a:pt x="2277868" y="3152"/>
                        <a:pt x="2295521" y="4413"/>
                        <a:pt x="2313804" y="6305"/>
                      </a:cubicBezTo>
                      <a:cubicBezTo>
                        <a:pt x="2322631" y="6935"/>
                        <a:pt x="2332087" y="8196"/>
                        <a:pt x="2340914" y="8827"/>
                      </a:cubicBezTo>
                      <a:lnTo>
                        <a:pt x="2368024" y="11979"/>
                      </a:lnTo>
                      <a:cubicBezTo>
                        <a:pt x="2386307" y="13870"/>
                        <a:pt x="2403960" y="17023"/>
                        <a:pt x="2421613" y="19544"/>
                      </a:cubicBezTo>
                      <a:cubicBezTo>
                        <a:pt x="2430440" y="20805"/>
                        <a:pt x="2439266" y="22066"/>
                        <a:pt x="2448723" y="23958"/>
                      </a:cubicBezTo>
                      <a:lnTo>
                        <a:pt x="2475203" y="29001"/>
                      </a:lnTo>
                      <a:lnTo>
                        <a:pt x="2501682" y="34045"/>
                      </a:lnTo>
                      <a:cubicBezTo>
                        <a:pt x="2510509" y="35936"/>
                        <a:pt x="2519335" y="37828"/>
                        <a:pt x="2528162" y="39719"/>
                      </a:cubicBezTo>
                      <a:cubicBezTo>
                        <a:pt x="2545815" y="43502"/>
                        <a:pt x="2563468" y="47285"/>
                        <a:pt x="2581121" y="51698"/>
                      </a:cubicBezTo>
                      <a:cubicBezTo>
                        <a:pt x="2651733" y="68721"/>
                        <a:pt x="2721715" y="88895"/>
                        <a:pt x="2791066" y="112223"/>
                      </a:cubicBezTo>
                      <a:cubicBezTo>
                        <a:pt x="2924093" y="155725"/>
                        <a:pt x="3054600" y="208684"/>
                        <a:pt x="3183214" y="26542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52" name="Freihandform: Form 42">
                  <a:extLst>
                    <a:ext uri="{FF2B5EF4-FFF2-40B4-BE49-F238E27FC236}">
                      <a16:creationId xmlns:a16="http://schemas.microsoft.com/office/drawing/2014/main" id="{2FDDEC0F-79AC-A98C-A74D-CA897B6D758B}"/>
                    </a:ext>
                  </a:extLst>
                </p:cNvPr>
                <p:cNvSpPr/>
                <p:nvPr/>
              </p:nvSpPr>
              <p:spPr>
                <a:xfrm>
                  <a:off x="4002232" y="2793378"/>
                  <a:ext cx="3001009" cy="310188"/>
                </a:xfrm>
                <a:custGeom>
                  <a:avLst/>
                  <a:gdLst>
                    <a:gd name="connsiteX0" fmla="*/ 0 w 3001009"/>
                    <a:gd name="connsiteY0" fmla="*/ 310188 h 310188"/>
                    <a:gd name="connsiteX1" fmla="*/ 542830 w 3001009"/>
                    <a:gd name="connsiteY1" fmla="*/ 165182 h 310188"/>
                    <a:gd name="connsiteX2" fmla="*/ 711794 w 3001009"/>
                    <a:gd name="connsiteY2" fmla="*/ 138072 h 310188"/>
                    <a:gd name="connsiteX3" fmla="*/ 3001010 w 3001009"/>
                    <a:gd name="connsiteY3" fmla="*/ 0 h 310188"/>
                    <a:gd name="connsiteX4" fmla="*/ 0 w 3001009"/>
                    <a:gd name="connsiteY4" fmla="*/ 310188 h 310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1009" h="310188">
                      <a:moveTo>
                        <a:pt x="0" y="310188"/>
                      </a:moveTo>
                      <a:lnTo>
                        <a:pt x="542830" y="165182"/>
                      </a:lnTo>
                      <a:cubicBezTo>
                        <a:pt x="597050" y="150681"/>
                        <a:pt x="653791" y="141854"/>
                        <a:pt x="711794" y="138072"/>
                      </a:cubicBezTo>
                      <a:lnTo>
                        <a:pt x="3001010" y="0"/>
                      </a:lnTo>
                      <a:lnTo>
                        <a:pt x="0" y="31018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sp>
            <p:nvSpPr>
              <p:cNvPr id="15" name="Freihandform: Form 8">
                <a:extLst>
                  <a:ext uri="{FF2B5EF4-FFF2-40B4-BE49-F238E27FC236}">
                    <a16:creationId xmlns:a16="http://schemas.microsoft.com/office/drawing/2014/main" id="{9D0AA72C-EDDD-6996-60AE-63892FFB3FB2}"/>
                  </a:ext>
                </a:extLst>
              </p:cNvPr>
              <p:cNvSpPr/>
              <p:nvPr/>
            </p:nvSpPr>
            <p:spPr>
              <a:xfrm>
                <a:off x="3160936" y="2768648"/>
                <a:ext cx="715833" cy="943315"/>
              </a:xfrm>
              <a:custGeom>
                <a:avLst/>
                <a:gdLst>
                  <a:gd name="connsiteX0" fmla="*/ 120045 w 715833"/>
                  <a:gd name="connsiteY0" fmla="*/ 318526 h 943315"/>
                  <a:gd name="connsiteX1" fmla="*/ 715834 w 715833"/>
                  <a:gd name="connsiteY1" fmla="*/ 54361 h 943315"/>
                  <a:gd name="connsiteX2" fmla="*/ 699442 w 715833"/>
                  <a:gd name="connsiteY2" fmla="*/ 46165 h 943315"/>
                  <a:gd name="connsiteX3" fmla="*/ 45650 w 715833"/>
                  <a:gd name="connsiteY3" fmla="*/ 283850 h 943315"/>
                  <a:gd name="connsiteX4" fmla="*/ 285227 w 715833"/>
                  <a:gd name="connsiteY4" fmla="*/ 936381 h 943315"/>
                  <a:gd name="connsiteX5" fmla="*/ 301619 w 715833"/>
                  <a:gd name="connsiteY5" fmla="*/ 943316 h 943315"/>
                  <a:gd name="connsiteX6" fmla="*/ 120045 w 715833"/>
                  <a:gd name="connsiteY6" fmla="*/ 318526 h 943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5833" h="943315">
                    <a:moveTo>
                      <a:pt x="120045" y="318526"/>
                    </a:moveTo>
                    <a:cubicBezTo>
                      <a:pt x="224702" y="93450"/>
                      <a:pt x="480671" y="-14990"/>
                      <a:pt x="715834" y="54361"/>
                    </a:cubicBezTo>
                    <a:cubicBezTo>
                      <a:pt x="710160" y="51839"/>
                      <a:pt x="705116" y="48687"/>
                      <a:pt x="699442" y="46165"/>
                    </a:cubicBezTo>
                    <a:cubicBezTo>
                      <a:pt x="452930" y="-68579"/>
                      <a:pt x="160395" y="37969"/>
                      <a:pt x="45650" y="283850"/>
                    </a:cubicBezTo>
                    <a:cubicBezTo>
                      <a:pt x="-68464" y="529731"/>
                      <a:pt x="38715" y="822267"/>
                      <a:pt x="285227" y="936381"/>
                    </a:cubicBezTo>
                    <a:cubicBezTo>
                      <a:pt x="290901" y="938903"/>
                      <a:pt x="296575" y="941424"/>
                      <a:pt x="301619" y="943316"/>
                    </a:cubicBezTo>
                    <a:cubicBezTo>
                      <a:pt x="97348" y="809027"/>
                      <a:pt x="15388" y="543601"/>
                      <a:pt x="120045" y="318526"/>
                    </a:cubicBez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grpSp>
            <p:nvGrpSpPr>
              <p:cNvPr id="16" name="Grafik 4">
                <a:extLst>
                  <a:ext uri="{FF2B5EF4-FFF2-40B4-BE49-F238E27FC236}">
                    <a16:creationId xmlns:a16="http://schemas.microsoft.com/office/drawing/2014/main" id="{C2157F58-B59B-8FE1-FA88-75C5C773A3CB}"/>
                  </a:ext>
                </a:extLst>
              </p:cNvPr>
              <p:cNvGrpSpPr/>
              <p:nvPr/>
            </p:nvGrpSpPr>
            <p:grpSpPr>
              <a:xfrm>
                <a:off x="5292793" y="3089065"/>
                <a:ext cx="1265341" cy="388997"/>
                <a:chOff x="5292793" y="3089065"/>
                <a:chExt cx="1265341" cy="388997"/>
              </a:xfrm>
              <a:grpFill/>
            </p:grpSpPr>
            <p:sp>
              <p:nvSpPr>
                <p:cNvPr id="45" name="Freihandform: Form 38">
                  <a:extLst>
                    <a:ext uri="{FF2B5EF4-FFF2-40B4-BE49-F238E27FC236}">
                      <a16:creationId xmlns:a16="http://schemas.microsoft.com/office/drawing/2014/main" id="{42ABC389-634D-B355-7C1A-9595EF56899B}"/>
                    </a:ext>
                  </a:extLst>
                </p:cNvPr>
                <p:cNvSpPr/>
                <p:nvPr/>
              </p:nvSpPr>
              <p:spPr>
                <a:xfrm>
                  <a:off x="5292793" y="3089065"/>
                  <a:ext cx="383322" cy="383322"/>
                </a:xfrm>
                <a:custGeom>
                  <a:avLst/>
                  <a:gdLst>
                    <a:gd name="connsiteX0" fmla="*/ 383322 w 383322"/>
                    <a:gd name="connsiteY0" fmla="*/ 270469 h 383322"/>
                    <a:gd name="connsiteX1" fmla="*/ 378279 w 383322"/>
                    <a:gd name="connsiteY1" fmla="*/ 307667 h 383322"/>
                    <a:gd name="connsiteX2" fmla="*/ 364408 w 383322"/>
                    <a:gd name="connsiteY2" fmla="*/ 336668 h 383322"/>
                    <a:gd name="connsiteX3" fmla="*/ 344234 w 383322"/>
                    <a:gd name="connsiteY3" fmla="*/ 358104 h 383322"/>
                    <a:gd name="connsiteX4" fmla="*/ 320276 w 383322"/>
                    <a:gd name="connsiteY4" fmla="*/ 372604 h 383322"/>
                    <a:gd name="connsiteX5" fmla="*/ 295057 w 383322"/>
                    <a:gd name="connsiteY5" fmla="*/ 380800 h 383322"/>
                    <a:gd name="connsiteX6" fmla="*/ 271100 w 383322"/>
                    <a:gd name="connsiteY6" fmla="*/ 383322 h 383322"/>
                    <a:gd name="connsiteX7" fmla="*/ 3152 w 383322"/>
                    <a:gd name="connsiteY7" fmla="*/ 383322 h 383322"/>
                    <a:gd name="connsiteX8" fmla="*/ 3152 w 383322"/>
                    <a:gd name="connsiteY8" fmla="*/ 313971 h 383322"/>
                    <a:gd name="connsiteX9" fmla="*/ 271100 w 383322"/>
                    <a:gd name="connsiteY9" fmla="*/ 313971 h 383322"/>
                    <a:gd name="connsiteX10" fmla="*/ 301992 w 383322"/>
                    <a:gd name="connsiteY10" fmla="*/ 301992 h 383322"/>
                    <a:gd name="connsiteX11" fmla="*/ 313341 w 383322"/>
                    <a:gd name="connsiteY11" fmla="*/ 270469 h 383322"/>
                    <a:gd name="connsiteX12" fmla="*/ 310189 w 383322"/>
                    <a:gd name="connsiteY12" fmla="*/ 252816 h 383322"/>
                    <a:gd name="connsiteX13" fmla="*/ 301992 w 383322"/>
                    <a:gd name="connsiteY13" fmla="*/ 238946 h 383322"/>
                    <a:gd name="connsiteX14" fmla="*/ 288753 w 383322"/>
                    <a:gd name="connsiteY14" fmla="*/ 230120 h 383322"/>
                    <a:gd name="connsiteX15" fmla="*/ 271100 w 383322"/>
                    <a:gd name="connsiteY15" fmla="*/ 226967 h 383322"/>
                    <a:gd name="connsiteX16" fmla="*/ 111592 w 383322"/>
                    <a:gd name="connsiteY16" fmla="*/ 226967 h 383322"/>
                    <a:gd name="connsiteX17" fmla="*/ 75025 w 383322"/>
                    <a:gd name="connsiteY17" fmla="*/ 220663 h 383322"/>
                    <a:gd name="connsiteX18" fmla="*/ 39089 w 383322"/>
                    <a:gd name="connsiteY18" fmla="*/ 201118 h 383322"/>
                    <a:gd name="connsiteX19" fmla="*/ 11348 w 383322"/>
                    <a:gd name="connsiteY19" fmla="*/ 166443 h 383322"/>
                    <a:gd name="connsiteX20" fmla="*/ 0 w 383322"/>
                    <a:gd name="connsiteY20" fmla="*/ 113484 h 383322"/>
                    <a:gd name="connsiteX21" fmla="*/ 11348 w 383322"/>
                    <a:gd name="connsiteY21" fmla="*/ 60525 h 383322"/>
                    <a:gd name="connsiteX22" fmla="*/ 39089 w 383322"/>
                    <a:gd name="connsiteY22" fmla="*/ 25849 h 383322"/>
                    <a:gd name="connsiteX23" fmla="*/ 75025 w 383322"/>
                    <a:gd name="connsiteY23" fmla="*/ 6305 h 383322"/>
                    <a:gd name="connsiteX24" fmla="*/ 111592 w 383322"/>
                    <a:gd name="connsiteY24" fmla="*/ 0 h 383322"/>
                    <a:gd name="connsiteX25" fmla="*/ 348016 w 383322"/>
                    <a:gd name="connsiteY25" fmla="*/ 0 h 383322"/>
                    <a:gd name="connsiteX26" fmla="*/ 348016 w 383322"/>
                    <a:gd name="connsiteY26" fmla="*/ 69351 h 383322"/>
                    <a:gd name="connsiteX27" fmla="*/ 111592 w 383322"/>
                    <a:gd name="connsiteY27" fmla="*/ 69351 h 383322"/>
                    <a:gd name="connsiteX28" fmla="*/ 80699 w 383322"/>
                    <a:gd name="connsiteY28" fmla="*/ 81330 h 383322"/>
                    <a:gd name="connsiteX29" fmla="*/ 69351 w 383322"/>
                    <a:gd name="connsiteY29" fmla="*/ 112853 h 383322"/>
                    <a:gd name="connsiteX30" fmla="*/ 80699 w 383322"/>
                    <a:gd name="connsiteY30" fmla="*/ 144376 h 383322"/>
                    <a:gd name="connsiteX31" fmla="*/ 111592 w 383322"/>
                    <a:gd name="connsiteY31" fmla="*/ 155725 h 383322"/>
                    <a:gd name="connsiteX32" fmla="*/ 271100 w 383322"/>
                    <a:gd name="connsiteY32" fmla="*/ 155725 h 383322"/>
                    <a:gd name="connsiteX33" fmla="*/ 271730 w 383322"/>
                    <a:gd name="connsiteY33" fmla="*/ 155725 h 383322"/>
                    <a:gd name="connsiteX34" fmla="*/ 295688 w 383322"/>
                    <a:gd name="connsiteY34" fmla="*/ 158877 h 383322"/>
                    <a:gd name="connsiteX35" fmla="*/ 320906 w 383322"/>
                    <a:gd name="connsiteY35" fmla="*/ 167703 h 383322"/>
                    <a:gd name="connsiteX36" fmla="*/ 344234 w 383322"/>
                    <a:gd name="connsiteY36" fmla="*/ 182204 h 383322"/>
                    <a:gd name="connsiteX37" fmla="*/ 364408 w 383322"/>
                    <a:gd name="connsiteY37" fmla="*/ 203640 h 383322"/>
                    <a:gd name="connsiteX38" fmla="*/ 378279 w 383322"/>
                    <a:gd name="connsiteY38" fmla="*/ 232641 h 383322"/>
                    <a:gd name="connsiteX39" fmla="*/ 383322 w 383322"/>
                    <a:gd name="connsiteY39" fmla="*/ 270469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383322" h="383322">
                      <a:moveTo>
                        <a:pt x="383322" y="270469"/>
                      </a:moveTo>
                      <a:cubicBezTo>
                        <a:pt x="383322" y="284339"/>
                        <a:pt x="381431" y="296318"/>
                        <a:pt x="378279" y="307667"/>
                      </a:cubicBezTo>
                      <a:cubicBezTo>
                        <a:pt x="375126" y="318385"/>
                        <a:pt x="370083" y="328472"/>
                        <a:pt x="364408" y="336668"/>
                      </a:cubicBezTo>
                      <a:cubicBezTo>
                        <a:pt x="358734" y="344864"/>
                        <a:pt x="351799" y="352430"/>
                        <a:pt x="344234" y="358104"/>
                      </a:cubicBezTo>
                      <a:cubicBezTo>
                        <a:pt x="336668" y="363778"/>
                        <a:pt x="328472" y="368822"/>
                        <a:pt x="320276" y="372604"/>
                      </a:cubicBezTo>
                      <a:cubicBezTo>
                        <a:pt x="312080" y="376387"/>
                        <a:pt x="303884" y="378909"/>
                        <a:pt x="295057" y="380800"/>
                      </a:cubicBezTo>
                      <a:cubicBezTo>
                        <a:pt x="286861" y="382692"/>
                        <a:pt x="278665" y="383322"/>
                        <a:pt x="271100" y="383322"/>
                      </a:cubicBezTo>
                      <a:lnTo>
                        <a:pt x="3152" y="383322"/>
                      </a:lnTo>
                      <a:lnTo>
                        <a:pt x="3152" y="313971"/>
                      </a:lnTo>
                      <a:lnTo>
                        <a:pt x="271100" y="313971"/>
                      </a:lnTo>
                      <a:cubicBezTo>
                        <a:pt x="284339" y="313971"/>
                        <a:pt x="295057" y="310188"/>
                        <a:pt x="301992" y="301992"/>
                      </a:cubicBezTo>
                      <a:cubicBezTo>
                        <a:pt x="309558" y="294427"/>
                        <a:pt x="313341" y="283709"/>
                        <a:pt x="313341" y="270469"/>
                      </a:cubicBezTo>
                      <a:cubicBezTo>
                        <a:pt x="313341" y="264165"/>
                        <a:pt x="312080" y="258490"/>
                        <a:pt x="310189" y="252816"/>
                      </a:cubicBezTo>
                      <a:cubicBezTo>
                        <a:pt x="308297" y="247142"/>
                        <a:pt x="305145" y="242729"/>
                        <a:pt x="301992" y="238946"/>
                      </a:cubicBezTo>
                      <a:cubicBezTo>
                        <a:pt x="298210" y="235163"/>
                        <a:pt x="293796" y="232011"/>
                        <a:pt x="288753" y="230120"/>
                      </a:cubicBezTo>
                      <a:cubicBezTo>
                        <a:pt x="283709" y="228228"/>
                        <a:pt x="277404" y="226967"/>
                        <a:pt x="271100" y="226967"/>
                      </a:cubicBezTo>
                      <a:lnTo>
                        <a:pt x="111592" y="226967"/>
                      </a:lnTo>
                      <a:cubicBezTo>
                        <a:pt x="100244" y="226967"/>
                        <a:pt x="88265" y="225076"/>
                        <a:pt x="75025" y="220663"/>
                      </a:cubicBezTo>
                      <a:cubicBezTo>
                        <a:pt x="61785" y="216880"/>
                        <a:pt x="49807" y="209945"/>
                        <a:pt x="39089" y="201118"/>
                      </a:cubicBezTo>
                      <a:cubicBezTo>
                        <a:pt x="27740" y="192292"/>
                        <a:pt x="18914" y="180313"/>
                        <a:pt x="11348" y="166443"/>
                      </a:cubicBezTo>
                      <a:cubicBezTo>
                        <a:pt x="3783" y="151942"/>
                        <a:pt x="0" y="134289"/>
                        <a:pt x="0" y="113484"/>
                      </a:cubicBezTo>
                      <a:cubicBezTo>
                        <a:pt x="0" y="92678"/>
                        <a:pt x="3783" y="75025"/>
                        <a:pt x="11348" y="60525"/>
                      </a:cubicBezTo>
                      <a:cubicBezTo>
                        <a:pt x="18914" y="46024"/>
                        <a:pt x="27740" y="34676"/>
                        <a:pt x="39089" y="25849"/>
                      </a:cubicBezTo>
                      <a:cubicBezTo>
                        <a:pt x="50437" y="17023"/>
                        <a:pt x="62416" y="10087"/>
                        <a:pt x="75025" y="6305"/>
                      </a:cubicBezTo>
                      <a:cubicBezTo>
                        <a:pt x="88265" y="2522"/>
                        <a:pt x="100244" y="0"/>
                        <a:pt x="111592" y="0"/>
                      </a:cubicBezTo>
                      <a:lnTo>
                        <a:pt x="348016" y="0"/>
                      </a:lnTo>
                      <a:lnTo>
                        <a:pt x="348016" y="69351"/>
                      </a:lnTo>
                      <a:lnTo>
                        <a:pt x="111592" y="69351"/>
                      </a:lnTo>
                      <a:cubicBezTo>
                        <a:pt x="98352" y="69351"/>
                        <a:pt x="88265" y="73134"/>
                        <a:pt x="80699" y="81330"/>
                      </a:cubicBezTo>
                      <a:cubicBezTo>
                        <a:pt x="73134" y="89526"/>
                        <a:pt x="69351" y="100244"/>
                        <a:pt x="69351" y="112853"/>
                      </a:cubicBezTo>
                      <a:cubicBezTo>
                        <a:pt x="69351" y="126093"/>
                        <a:pt x="73134" y="136811"/>
                        <a:pt x="80699" y="144376"/>
                      </a:cubicBezTo>
                      <a:cubicBezTo>
                        <a:pt x="88265" y="151942"/>
                        <a:pt x="98352" y="155725"/>
                        <a:pt x="111592" y="155725"/>
                      </a:cubicBezTo>
                      <a:lnTo>
                        <a:pt x="271100" y="155725"/>
                      </a:lnTo>
                      <a:lnTo>
                        <a:pt x="271730" y="155725"/>
                      </a:lnTo>
                      <a:cubicBezTo>
                        <a:pt x="279296" y="155725"/>
                        <a:pt x="286861" y="156986"/>
                        <a:pt x="295688" y="158877"/>
                      </a:cubicBezTo>
                      <a:cubicBezTo>
                        <a:pt x="303884" y="160768"/>
                        <a:pt x="312080" y="163921"/>
                        <a:pt x="320906" y="167703"/>
                      </a:cubicBezTo>
                      <a:cubicBezTo>
                        <a:pt x="329102" y="171486"/>
                        <a:pt x="337298" y="176530"/>
                        <a:pt x="344234" y="182204"/>
                      </a:cubicBezTo>
                      <a:cubicBezTo>
                        <a:pt x="351799" y="187878"/>
                        <a:pt x="358104" y="195444"/>
                        <a:pt x="364408" y="203640"/>
                      </a:cubicBezTo>
                      <a:cubicBezTo>
                        <a:pt x="370083" y="211836"/>
                        <a:pt x="374496" y="221923"/>
                        <a:pt x="378279" y="232641"/>
                      </a:cubicBezTo>
                      <a:cubicBezTo>
                        <a:pt x="382061" y="244620"/>
                        <a:pt x="383322" y="256599"/>
                        <a:pt x="383322" y="27046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6" name="Freihandform: Form 39">
                  <a:extLst>
                    <a:ext uri="{FF2B5EF4-FFF2-40B4-BE49-F238E27FC236}">
                      <a16:creationId xmlns:a16="http://schemas.microsoft.com/office/drawing/2014/main" id="{EA030052-C727-E13C-4A80-45EA9730A620}"/>
                    </a:ext>
                  </a:extLst>
                </p:cNvPr>
                <p:cNvSpPr/>
                <p:nvPr/>
              </p:nvSpPr>
              <p:spPr>
                <a:xfrm>
                  <a:off x="5734118" y="3089065"/>
                  <a:ext cx="382061" cy="383322"/>
                </a:xfrm>
                <a:custGeom>
                  <a:avLst/>
                  <a:gdLst>
                    <a:gd name="connsiteX0" fmla="*/ 382061 w 382061"/>
                    <a:gd name="connsiteY0" fmla="*/ 223184 h 383322"/>
                    <a:gd name="connsiteX1" fmla="*/ 370083 w 382061"/>
                    <a:gd name="connsiteY1" fmla="*/ 287492 h 383322"/>
                    <a:gd name="connsiteX2" fmla="*/ 336668 w 382061"/>
                    <a:gd name="connsiteY2" fmla="*/ 337929 h 383322"/>
                    <a:gd name="connsiteX3" fmla="*/ 286231 w 382061"/>
                    <a:gd name="connsiteY3" fmla="*/ 371343 h 383322"/>
                    <a:gd name="connsiteX4" fmla="*/ 222554 w 382061"/>
                    <a:gd name="connsiteY4" fmla="*/ 383322 h 383322"/>
                    <a:gd name="connsiteX5" fmla="*/ 35306 w 382061"/>
                    <a:gd name="connsiteY5" fmla="*/ 383322 h 383322"/>
                    <a:gd name="connsiteX6" fmla="*/ 21436 w 382061"/>
                    <a:gd name="connsiteY6" fmla="*/ 380800 h 383322"/>
                    <a:gd name="connsiteX7" fmla="*/ 10087 w 382061"/>
                    <a:gd name="connsiteY7" fmla="*/ 373235 h 383322"/>
                    <a:gd name="connsiteX8" fmla="*/ 2522 w 382061"/>
                    <a:gd name="connsiteY8" fmla="*/ 361887 h 383322"/>
                    <a:gd name="connsiteX9" fmla="*/ 0 w 382061"/>
                    <a:gd name="connsiteY9" fmla="*/ 348016 h 383322"/>
                    <a:gd name="connsiteX10" fmla="*/ 0 w 382061"/>
                    <a:gd name="connsiteY10" fmla="*/ 35306 h 383322"/>
                    <a:gd name="connsiteX11" fmla="*/ 2522 w 382061"/>
                    <a:gd name="connsiteY11" fmla="*/ 21436 h 383322"/>
                    <a:gd name="connsiteX12" fmla="*/ 10087 w 382061"/>
                    <a:gd name="connsiteY12" fmla="*/ 10087 h 383322"/>
                    <a:gd name="connsiteX13" fmla="*/ 21436 w 382061"/>
                    <a:gd name="connsiteY13" fmla="*/ 2522 h 383322"/>
                    <a:gd name="connsiteX14" fmla="*/ 35306 w 382061"/>
                    <a:gd name="connsiteY14" fmla="*/ 0 h 383322"/>
                    <a:gd name="connsiteX15" fmla="*/ 222554 w 382061"/>
                    <a:gd name="connsiteY15" fmla="*/ 0 h 383322"/>
                    <a:gd name="connsiteX16" fmla="*/ 286231 w 382061"/>
                    <a:gd name="connsiteY16" fmla="*/ 11979 h 383322"/>
                    <a:gd name="connsiteX17" fmla="*/ 336668 w 382061"/>
                    <a:gd name="connsiteY17" fmla="*/ 45393 h 383322"/>
                    <a:gd name="connsiteX18" fmla="*/ 370083 w 382061"/>
                    <a:gd name="connsiteY18" fmla="*/ 95831 h 383322"/>
                    <a:gd name="connsiteX19" fmla="*/ 382061 w 382061"/>
                    <a:gd name="connsiteY19" fmla="*/ 160138 h 383322"/>
                    <a:gd name="connsiteX20" fmla="*/ 382061 w 382061"/>
                    <a:gd name="connsiteY20" fmla="*/ 223184 h 383322"/>
                    <a:gd name="connsiteX21" fmla="*/ 312710 w 382061"/>
                    <a:gd name="connsiteY21" fmla="*/ 160768 h 383322"/>
                    <a:gd name="connsiteX22" fmla="*/ 306406 w 382061"/>
                    <a:gd name="connsiteY22" fmla="*/ 123571 h 383322"/>
                    <a:gd name="connsiteX23" fmla="*/ 288122 w 382061"/>
                    <a:gd name="connsiteY23" fmla="*/ 94570 h 383322"/>
                    <a:gd name="connsiteX24" fmla="*/ 259121 w 382061"/>
                    <a:gd name="connsiteY24" fmla="*/ 76286 h 383322"/>
                    <a:gd name="connsiteX25" fmla="*/ 221924 w 382061"/>
                    <a:gd name="connsiteY25" fmla="*/ 69982 h 383322"/>
                    <a:gd name="connsiteX26" fmla="*/ 68721 w 382061"/>
                    <a:gd name="connsiteY26" fmla="*/ 69982 h 383322"/>
                    <a:gd name="connsiteX27" fmla="*/ 68721 w 382061"/>
                    <a:gd name="connsiteY27" fmla="*/ 313971 h 383322"/>
                    <a:gd name="connsiteX28" fmla="*/ 221924 w 382061"/>
                    <a:gd name="connsiteY28" fmla="*/ 313971 h 383322"/>
                    <a:gd name="connsiteX29" fmla="*/ 259121 w 382061"/>
                    <a:gd name="connsiteY29" fmla="*/ 307667 h 383322"/>
                    <a:gd name="connsiteX30" fmla="*/ 288122 w 382061"/>
                    <a:gd name="connsiteY30" fmla="*/ 289383 h 383322"/>
                    <a:gd name="connsiteX31" fmla="*/ 306406 w 382061"/>
                    <a:gd name="connsiteY31" fmla="*/ 261012 h 383322"/>
                    <a:gd name="connsiteX32" fmla="*/ 312710 w 382061"/>
                    <a:gd name="connsiteY32" fmla="*/ 223815 h 383322"/>
                    <a:gd name="connsiteX33" fmla="*/ 312710 w 382061"/>
                    <a:gd name="connsiteY33" fmla="*/ 160768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382061" h="383322">
                      <a:moveTo>
                        <a:pt x="382061" y="223184"/>
                      </a:moveTo>
                      <a:cubicBezTo>
                        <a:pt x="382061" y="246512"/>
                        <a:pt x="378279" y="267947"/>
                        <a:pt x="370083" y="287492"/>
                      </a:cubicBezTo>
                      <a:cubicBezTo>
                        <a:pt x="361886" y="307036"/>
                        <a:pt x="350538" y="324059"/>
                        <a:pt x="336668" y="337929"/>
                      </a:cubicBezTo>
                      <a:cubicBezTo>
                        <a:pt x="322167" y="351799"/>
                        <a:pt x="305775" y="363147"/>
                        <a:pt x="286231" y="371343"/>
                      </a:cubicBezTo>
                      <a:cubicBezTo>
                        <a:pt x="266686" y="379540"/>
                        <a:pt x="245251" y="383322"/>
                        <a:pt x="222554" y="383322"/>
                      </a:cubicBezTo>
                      <a:lnTo>
                        <a:pt x="35306" y="383322"/>
                      </a:lnTo>
                      <a:cubicBezTo>
                        <a:pt x="30262" y="383322"/>
                        <a:pt x="25849" y="382692"/>
                        <a:pt x="21436" y="380800"/>
                      </a:cubicBezTo>
                      <a:cubicBezTo>
                        <a:pt x="17023" y="378909"/>
                        <a:pt x="13240" y="376387"/>
                        <a:pt x="10087" y="373235"/>
                      </a:cubicBezTo>
                      <a:cubicBezTo>
                        <a:pt x="6935" y="370083"/>
                        <a:pt x="4413" y="366300"/>
                        <a:pt x="2522" y="361887"/>
                      </a:cubicBezTo>
                      <a:cubicBezTo>
                        <a:pt x="631" y="357473"/>
                        <a:pt x="0" y="353060"/>
                        <a:pt x="0" y="348016"/>
                      </a:cubicBezTo>
                      <a:lnTo>
                        <a:pt x="0" y="35306"/>
                      </a:lnTo>
                      <a:cubicBezTo>
                        <a:pt x="0" y="30262"/>
                        <a:pt x="631" y="25849"/>
                        <a:pt x="2522" y="21436"/>
                      </a:cubicBezTo>
                      <a:cubicBezTo>
                        <a:pt x="4413" y="17023"/>
                        <a:pt x="6935" y="13240"/>
                        <a:pt x="10087" y="10087"/>
                      </a:cubicBezTo>
                      <a:cubicBezTo>
                        <a:pt x="13240" y="6935"/>
                        <a:pt x="17023" y="4413"/>
                        <a:pt x="21436" y="2522"/>
                      </a:cubicBezTo>
                      <a:cubicBezTo>
                        <a:pt x="25849" y="630"/>
                        <a:pt x="30262" y="0"/>
                        <a:pt x="35306" y="0"/>
                      </a:cubicBezTo>
                      <a:lnTo>
                        <a:pt x="222554" y="0"/>
                      </a:lnTo>
                      <a:cubicBezTo>
                        <a:pt x="245251" y="0"/>
                        <a:pt x="266686" y="3783"/>
                        <a:pt x="286231" y="11979"/>
                      </a:cubicBezTo>
                      <a:cubicBezTo>
                        <a:pt x="305775" y="20175"/>
                        <a:pt x="322798" y="30893"/>
                        <a:pt x="336668" y="45393"/>
                      </a:cubicBezTo>
                      <a:cubicBezTo>
                        <a:pt x="351169" y="59264"/>
                        <a:pt x="361886" y="76286"/>
                        <a:pt x="370083" y="95831"/>
                      </a:cubicBezTo>
                      <a:cubicBezTo>
                        <a:pt x="378279" y="115375"/>
                        <a:pt x="382061" y="136811"/>
                        <a:pt x="382061" y="160138"/>
                      </a:cubicBezTo>
                      <a:lnTo>
                        <a:pt x="382061" y="223184"/>
                      </a:lnTo>
                      <a:close/>
                      <a:moveTo>
                        <a:pt x="312710" y="160768"/>
                      </a:moveTo>
                      <a:cubicBezTo>
                        <a:pt x="312710" y="147529"/>
                        <a:pt x="310819" y="134919"/>
                        <a:pt x="306406" y="123571"/>
                      </a:cubicBezTo>
                      <a:cubicBezTo>
                        <a:pt x="301992" y="112223"/>
                        <a:pt x="295688" y="102766"/>
                        <a:pt x="288122" y="94570"/>
                      </a:cubicBezTo>
                      <a:cubicBezTo>
                        <a:pt x="279926" y="86374"/>
                        <a:pt x="270469" y="80699"/>
                        <a:pt x="259121" y="76286"/>
                      </a:cubicBezTo>
                      <a:cubicBezTo>
                        <a:pt x="247772" y="71873"/>
                        <a:pt x="235794" y="69982"/>
                        <a:pt x="221924" y="69982"/>
                      </a:cubicBezTo>
                      <a:lnTo>
                        <a:pt x="68721" y="69982"/>
                      </a:lnTo>
                      <a:lnTo>
                        <a:pt x="68721" y="313971"/>
                      </a:lnTo>
                      <a:lnTo>
                        <a:pt x="221924" y="313971"/>
                      </a:lnTo>
                      <a:cubicBezTo>
                        <a:pt x="235163" y="313971"/>
                        <a:pt x="247772" y="312080"/>
                        <a:pt x="259121" y="307667"/>
                      </a:cubicBezTo>
                      <a:cubicBezTo>
                        <a:pt x="270469" y="303253"/>
                        <a:pt x="279926" y="296949"/>
                        <a:pt x="288122" y="289383"/>
                      </a:cubicBezTo>
                      <a:cubicBezTo>
                        <a:pt x="296318" y="281187"/>
                        <a:pt x="302623" y="271730"/>
                        <a:pt x="306406" y="261012"/>
                      </a:cubicBezTo>
                      <a:cubicBezTo>
                        <a:pt x="310819" y="249664"/>
                        <a:pt x="312710" y="237685"/>
                        <a:pt x="312710" y="223815"/>
                      </a:cubicBezTo>
                      <a:lnTo>
                        <a:pt x="312710" y="16076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7" name="Freihandform: Form 40">
                  <a:extLst>
                    <a:ext uri="{FF2B5EF4-FFF2-40B4-BE49-F238E27FC236}">
                      <a16:creationId xmlns:a16="http://schemas.microsoft.com/office/drawing/2014/main" id="{42952C9E-3E5C-FB1E-61E8-9A2CC6BE5639}"/>
                    </a:ext>
                  </a:extLst>
                </p:cNvPr>
                <p:cNvSpPr/>
                <p:nvPr/>
              </p:nvSpPr>
              <p:spPr>
                <a:xfrm>
                  <a:off x="6133832" y="3089696"/>
                  <a:ext cx="424302" cy="388366"/>
                </a:xfrm>
                <a:custGeom>
                  <a:avLst/>
                  <a:gdLst>
                    <a:gd name="connsiteX0" fmla="*/ 424303 w 424302"/>
                    <a:gd name="connsiteY0" fmla="*/ 0 h 388366"/>
                    <a:gd name="connsiteX1" fmla="*/ 243359 w 424302"/>
                    <a:gd name="connsiteY1" fmla="*/ 369452 h 388366"/>
                    <a:gd name="connsiteX2" fmla="*/ 230750 w 424302"/>
                    <a:gd name="connsiteY2" fmla="*/ 383322 h 388366"/>
                    <a:gd name="connsiteX3" fmla="*/ 212466 w 424302"/>
                    <a:gd name="connsiteY3" fmla="*/ 388366 h 388366"/>
                    <a:gd name="connsiteX4" fmla="*/ 194183 w 424302"/>
                    <a:gd name="connsiteY4" fmla="*/ 383322 h 388366"/>
                    <a:gd name="connsiteX5" fmla="*/ 180943 w 424302"/>
                    <a:gd name="connsiteY5" fmla="*/ 369452 h 388366"/>
                    <a:gd name="connsiteX6" fmla="*/ 0 w 424302"/>
                    <a:gd name="connsiteY6" fmla="*/ 0 h 388366"/>
                    <a:gd name="connsiteX7" fmla="*/ 77547 w 424302"/>
                    <a:gd name="connsiteY7" fmla="*/ 0 h 388366"/>
                    <a:gd name="connsiteX8" fmla="*/ 211836 w 424302"/>
                    <a:gd name="connsiteY8" fmla="*/ 275513 h 388366"/>
                    <a:gd name="connsiteX9" fmla="*/ 346756 w 424302"/>
                    <a:gd name="connsiteY9" fmla="*/ 0 h 388366"/>
                    <a:gd name="connsiteX10" fmla="*/ 424303 w 424302"/>
                    <a:gd name="connsiteY10" fmla="*/ 0 h 388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24302" h="388366">
                      <a:moveTo>
                        <a:pt x="424303" y="0"/>
                      </a:moveTo>
                      <a:lnTo>
                        <a:pt x="243359" y="369452"/>
                      </a:lnTo>
                      <a:cubicBezTo>
                        <a:pt x="240207" y="375126"/>
                        <a:pt x="236424" y="379539"/>
                        <a:pt x="230750" y="383322"/>
                      </a:cubicBezTo>
                      <a:cubicBezTo>
                        <a:pt x="225076" y="386475"/>
                        <a:pt x="218771" y="388366"/>
                        <a:pt x="212466" y="388366"/>
                      </a:cubicBezTo>
                      <a:cubicBezTo>
                        <a:pt x="206162" y="388366"/>
                        <a:pt x="199857" y="386475"/>
                        <a:pt x="194183" y="383322"/>
                      </a:cubicBezTo>
                      <a:cubicBezTo>
                        <a:pt x="188509" y="379539"/>
                        <a:pt x="184096" y="375126"/>
                        <a:pt x="180943" y="369452"/>
                      </a:cubicBezTo>
                      <a:lnTo>
                        <a:pt x="0" y="0"/>
                      </a:lnTo>
                      <a:lnTo>
                        <a:pt x="77547" y="0"/>
                      </a:lnTo>
                      <a:lnTo>
                        <a:pt x="211836" y="275513"/>
                      </a:lnTo>
                      <a:lnTo>
                        <a:pt x="346756" y="0"/>
                      </a:lnTo>
                      <a:lnTo>
                        <a:pt x="424303" y="0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grpSp>
            <p:nvGrpSpPr>
              <p:cNvPr id="17" name="Grafik 4">
                <a:extLst>
                  <a:ext uri="{FF2B5EF4-FFF2-40B4-BE49-F238E27FC236}">
                    <a16:creationId xmlns:a16="http://schemas.microsoft.com/office/drawing/2014/main" id="{68F3D385-689F-8606-B00A-ABE09AD473B4}"/>
                  </a:ext>
                </a:extLst>
              </p:cNvPr>
              <p:cNvGrpSpPr/>
              <p:nvPr/>
            </p:nvGrpSpPr>
            <p:grpSpPr>
              <a:xfrm>
                <a:off x="3521818" y="3568849"/>
                <a:ext cx="2973270" cy="179051"/>
                <a:chOff x="3521818" y="3568849"/>
                <a:chExt cx="2973270" cy="179051"/>
              </a:xfrm>
              <a:grpFill/>
            </p:grpSpPr>
            <p:sp>
              <p:nvSpPr>
                <p:cNvPr id="18" name="Freihandform: Form 11">
                  <a:extLst>
                    <a:ext uri="{FF2B5EF4-FFF2-40B4-BE49-F238E27FC236}">
                      <a16:creationId xmlns:a16="http://schemas.microsoft.com/office/drawing/2014/main" id="{26A3B223-978D-5521-E9BD-8AE3ECF16866}"/>
                    </a:ext>
                  </a:extLst>
                </p:cNvPr>
                <p:cNvSpPr/>
                <p:nvPr/>
              </p:nvSpPr>
              <p:spPr>
                <a:xfrm>
                  <a:off x="3521818" y="3573262"/>
                  <a:ext cx="91417" cy="138702"/>
                </a:xfrm>
                <a:custGeom>
                  <a:avLst/>
                  <a:gdLst>
                    <a:gd name="connsiteX0" fmla="*/ 0 w 91417"/>
                    <a:gd name="connsiteY0" fmla="*/ 138072 h 138702"/>
                    <a:gd name="connsiteX1" fmla="*/ 0 w 91417"/>
                    <a:gd name="connsiteY1" fmla="*/ 0 h 138702"/>
                    <a:gd name="connsiteX2" fmla="*/ 89526 w 91417"/>
                    <a:gd name="connsiteY2" fmla="*/ 0 h 138702"/>
                    <a:gd name="connsiteX3" fmla="*/ 89526 w 91417"/>
                    <a:gd name="connsiteY3" fmla="*/ 25849 h 138702"/>
                    <a:gd name="connsiteX4" fmla="*/ 32154 w 91417"/>
                    <a:gd name="connsiteY4" fmla="*/ 25849 h 138702"/>
                    <a:gd name="connsiteX5" fmla="*/ 32154 w 91417"/>
                    <a:gd name="connsiteY5" fmla="*/ 54220 h 138702"/>
                    <a:gd name="connsiteX6" fmla="*/ 86374 w 91417"/>
                    <a:gd name="connsiteY6" fmla="*/ 54220 h 138702"/>
                    <a:gd name="connsiteX7" fmla="*/ 86374 w 91417"/>
                    <a:gd name="connsiteY7" fmla="*/ 80069 h 138702"/>
                    <a:gd name="connsiteX8" fmla="*/ 32154 w 91417"/>
                    <a:gd name="connsiteY8" fmla="*/ 80069 h 138702"/>
                    <a:gd name="connsiteX9" fmla="*/ 32154 w 91417"/>
                    <a:gd name="connsiteY9" fmla="*/ 112223 h 138702"/>
                    <a:gd name="connsiteX10" fmla="*/ 91417 w 91417"/>
                    <a:gd name="connsiteY10" fmla="*/ 112223 h 138702"/>
                    <a:gd name="connsiteX11" fmla="*/ 91417 w 91417"/>
                    <a:gd name="connsiteY11" fmla="*/ 138702 h 138702"/>
                    <a:gd name="connsiteX12" fmla="*/ 0 w 91417"/>
                    <a:gd name="connsiteY12" fmla="*/ 138702 h 138702"/>
                    <a:gd name="connsiteX13" fmla="*/ 0 w 91417"/>
                    <a:gd name="connsiteY13" fmla="*/ 138072 h 13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1417" h="138702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89526" y="0"/>
                      </a:lnTo>
                      <a:lnTo>
                        <a:pt x="89526" y="25849"/>
                      </a:lnTo>
                      <a:lnTo>
                        <a:pt x="32154" y="25849"/>
                      </a:lnTo>
                      <a:lnTo>
                        <a:pt x="32154" y="54220"/>
                      </a:lnTo>
                      <a:lnTo>
                        <a:pt x="86374" y="54220"/>
                      </a:lnTo>
                      <a:lnTo>
                        <a:pt x="86374" y="80069"/>
                      </a:lnTo>
                      <a:lnTo>
                        <a:pt x="32154" y="80069"/>
                      </a:lnTo>
                      <a:lnTo>
                        <a:pt x="32154" y="112223"/>
                      </a:lnTo>
                      <a:lnTo>
                        <a:pt x="91417" y="112223"/>
                      </a:lnTo>
                      <a:lnTo>
                        <a:pt x="91417" y="138702"/>
                      </a:lnTo>
                      <a:lnTo>
                        <a:pt x="0" y="13870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19" name="Freihandform: Form 12">
                  <a:extLst>
                    <a:ext uri="{FF2B5EF4-FFF2-40B4-BE49-F238E27FC236}">
                      <a16:creationId xmlns:a16="http://schemas.microsoft.com/office/drawing/2014/main" id="{D59B6956-7AD2-680F-D1E2-3CA5745E4AB9}"/>
                    </a:ext>
                  </a:extLst>
                </p:cNvPr>
                <p:cNvSpPr/>
                <p:nvPr/>
              </p:nvSpPr>
              <p:spPr>
                <a:xfrm>
                  <a:off x="3623323" y="3611720"/>
                  <a:ext cx="89525" cy="102135"/>
                </a:xfrm>
                <a:custGeom>
                  <a:avLst/>
                  <a:gdLst>
                    <a:gd name="connsiteX0" fmla="*/ 51698 w 89525"/>
                    <a:gd name="connsiteY0" fmla="*/ 102135 h 102135"/>
                    <a:gd name="connsiteX1" fmla="*/ 0 w 89525"/>
                    <a:gd name="connsiteY1" fmla="*/ 51068 h 102135"/>
                    <a:gd name="connsiteX2" fmla="*/ 52329 w 89525"/>
                    <a:gd name="connsiteY2" fmla="*/ 0 h 102135"/>
                    <a:gd name="connsiteX3" fmla="*/ 88896 w 89525"/>
                    <a:gd name="connsiteY3" fmla="*/ 10087 h 102135"/>
                    <a:gd name="connsiteX4" fmla="*/ 81960 w 89525"/>
                    <a:gd name="connsiteY4" fmla="*/ 34045 h 102135"/>
                    <a:gd name="connsiteX5" fmla="*/ 56742 w 89525"/>
                    <a:gd name="connsiteY5" fmla="*/ 25219 h 102135"/>
                    <a:gd name="connsiteX6" fmla="*/ 32154 w 89525"/>
                    <a:gd name="connsiteY6" fmla="*/ 50437 h 102135"/>
                    <a:gd name="connsiteX7" fmla="*/ 56742 w 89525"/>
                    <a:gd name="connsiteY7" fmla="*/ 75656 h 102135"/>
                    <a:gd name="connsiteX8" fmla="*/ 81960 w 89525"/>
                    <a:gd name="connsiteY8" fmla="*/ 66199 h 102135"/>
                    <a:gd name="connsiteX9" fmla="*/ 89526 w 89525"/>
                    <a:gd name="connsiteY9" fmla="*/ 90156 h 102135"/>
                    <a:gd name="connsiteX10" fmla="*/ 51698 w 89525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5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9" y="0"/>
                      </a:cubicBezTo>
                      <a:cubicBezTo>
                        <a:pt x="77547" y="0"/>
                        <a:pt x="88896" y="10087"/>
                        <a:pt x="88896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2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873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0" name="Freihandform: Form 13">
                  <a:extLst>
                    <a:ext uri="{FF2B5EF4-FFF2-40B4-BE49-F238E27FC236}">
                      <a16:creationId xmlns:a16="http://schemas.microsoft.com/office/drawing/2014/main" id="{DADB0308-C1BC-83D6-3BA4-3A828F577842}"/>
                    </a:ext>
                  </a:extLst>
                </p:cNvPr>
                <p:cNvSpPr/>
                <p:nvPr/>
              </p:nvSpPr>
              <p:spPr>
                <a:xfrm>
                  <a:off x="3726089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1" name="Freihandform: Form 14">
                  <a:extLst>
                    <a:ext uri="{FF2B5EF4-FFF2-40B4-BE49-F238E27FC236}">
                      <a16:creationId xmlns:a16="http://schemas.microsoft.com/office/drawing/2014/main" id="{4ABE3903-1EAF-B49D-58A1-5C9246893E3A}"/>
                    </a:ext>
                  </a:extLst>
                </p:cNvPr>
                <p:cNvSpPr/>
                <p:nvPr/>
              </p:nvSpPr>
              <p:spPr>
                <a:xfrm>
                  <a:off x="3777787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2" name="Freihandform: Form 15">
                  <a:extLst>
                    <a:ext uri="{FF2B5EF4-FFF2-40B4-BE49-F238E27FC236}">
                      <a16:creationId xmlns:a16="http://schemas.microsoft.com/office/drawing/2014/main" id="{CF0BEFDB-3DAA-D718-57DD-619F7E9403BB}"/>
                    </a:ext>
                  </a:extLst>
                </p:cNvPr>
                <p:cNvSpPr/>
                <p:nvPr/>
              </p:nvSpPr>
              <p:spPr>
                <a:xfrm>
                  <a:off x="3833898" y="3611090"/>
                  <a:ext cx="110331" cy="136810"/>
                </a:xfrm>
                <a:custGeom>
                  <a:avLst/>
                  <a:gdLst>
                    <a:gd name="connsiteX0" fmla="*/ 63046 w 110331"/>
                    <a:gd name="connsiteY0" fmla="*/ 102766 h 136810"/>
                    <a:gd name="connsiteX1" fmla="*/ 32154 w 110331"/>
                    <a:gd name="connsiteY1" fmla="*/ 88265 h 136810"/>
                    <a:gd name="connsiteX2" fmla="*/ 32154 w 110331"/>
                    <a:gd name="connsiteY2" fmla="*/ 136811 h 136810"/>
                    <a:gd name="connsiteX3" fmla="*/ 0 w 110331"/>
                    <a:gd name="connsiteY3" fmla="*/ 136811 h 136810"/>
                    <a:gd name="connsiteX4" fmla="*/ 0 w 110331"/>
                    <a:gd name="connsiteY4" fmla="*/ 1891 h 136810"/>
                    <a:gd name="connsiteX5" fmla="*/ 30262 w 110331"/>
                    <a:gd name="connsiteY5" fmla="*/ 1891 h 136810"/>
                    <a:gd name="connsiteX6" fmla="*/ 30262 w 110331"/>
                    <a:gd name="connsiteY6" fmla="*/ 14501 h 136810"/>
                    <a:gd name="connsiteX7" fmla="*/ 30893 w 110331"/>
                    <a:gd name="connsiteY7" fmla="*/ 14501 h 136810"/>
                    <a:gd name="connsiteX8" fmla="*/ 63677 w 110331"/>
                    <a:gd name="connsiteY8" fmla="*/ 0 h 136810"/>
                    <a:gd name="connsiteX9" fmla="*/ 110331 w 110331"/>
                    <a:gd name="connsiteY9" fmla="*/ 51068 h 136810"/>
                    <a:gd name="connsiteX10" fmla="*/ 63046 w 110331"/>
                    <a:gd name="connsiteY10" fmla="*/ 102766 h 136810"/>
                    <a:gd name="connsiteX11" fmla="*/ 54220 w 110331"/>
                    <a:gd name="connsiteY11" fmla="*/ 25219 h 136810"/>
                    <a:gd name="connsiteX12" fmla="*/ 31523 w 110331"/>
                    <a:gd name="connsiteY12" fmla="*/ 51068 h 136810"/>
                    <a:gd name="connsiteX13" fmla="*/ 54220 w 110331"/>
                    <a:gd name="connsiteY13" fmla="*/ 76917 h 136810"/>
                    <a:gd name="connsiteX14" fmla="*/ 77547 w 110331"/>
                    <a:gd name="connsiteY14" fmla="*/ 51068 h 136810"/>
                    <a:gd name="connsiteX15" fmla="*/ 54220 w 110331"/>
                    <a:gd name="connsiteY15" fmla="*/ 25219 h 136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0331" h="136810">
                      <a:moveTo>
                        <a:pt x="63046" y="102766"/>
                      </a:moveTo>
                      <a:cubicBezTo>
                        <a:pt x="48546" y="102766"/>
                        <a:pt x="37828" y="97092"/>
                        <a:pt x="32154" y="88265"/>
                      </a:cubicBezTo>
                      <a:lnTo>
                        <a:pt x="32154" y="136811"/>
                      </a:lnTo>
                      <a:lnTo>
                        <a:pt x="0" y="136811"/>
                      </a:lnTo>
                      <a:lnTo>
                        <a:pt x="0" y="1891"/>
                      </a:lnTo>
                      <a:lnTo>
                        <a:pt x="30262" y="1891"/>
                      </a:lnTo>
                      <a:lnTo>
                        <a:pt x="30262" y="14501"/>
                      </a:lnTo>
                      <a:lnTo>
                        <a:pt x="30893" y="14501"/>
                      </a:lnTo>
                      <a:cubicBezTo>
                        <a:pt x="37828" y="5674"/>
                        <a:pt x="48546" y="0"/>
                        <a:pt x="63677" y="0"/>
                      </a:cubicBezTo>
                      <a:cubicBezTo>
                        <a:pt x="92048" y="0"/>
                        <a:pt x="110331" y="22066"/>
                        <a:pt x="110331" y="51068"/>
                      </a:cubicBezTo>
                      <a:cubicBezTo>
                        <a:pt x="110331" y="80069"/>
                        <a:pt x="92048" y="102766"/>
                        <a:pt x="63046" y="102766"/>
                      </a:cubicBezTo>
                      <a:close/>
                      <a:moveTo>
                        <a:pt x="54220" y="25219"/>
                      </a:moveTo>
                      <a:cubicBezTo>
                        <a:pt x="40350" y="25219"/>
                        <a:pt x="31523" y="35306"/>
                        <a:pt x="31523" y="51068"/>
                      </a:cubicBezTo>
                      <a:cubicBezTo>
                        <a:pt x="31523" y="66199"/>
                        <a:pt x="40980" y="76917"/>
                        <a:pt x="54220" y="76917"/>
                      </a:cubicBezTo>
                      <a:cubicBezTo>
                        <a:pt x="68090" y="76917"/>
                        <a:pt x="77547" y="66829"/>
                        <a:pt x="77547" y="51068"/>
                      </a:cubicBezTo>
                      <a:cubicBezTo>
                        <a:pt x="77547" y="35937"/>
                        <a:pt x="68090" y="25219"/>
                        <a:pt x="54220" y="2521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3" name="Freihandform: Form 16">
                  <a:extLst>
                    <a:ext uri="{FF2B5EF4-FFF2-40B4-BE49-F238E27FC236}">
                      <a16:creationId xmlns:a16="http://schemas.microsoft.com/office/drawing/2014/main" id="{109E8B2F-39B9-57AF-B30E-B3F94CD2522A}"/>
                    </a:ext>
                  </a:extLst>
                </p:cNvPr>
                <p:cNvSpPr/>
                <p:nvPr/>
              </p:nvSpPr>
              <p:spPr>
                <a:xfrm>
                  <a:off x="3951165" y="3611720"/>
                  <a:ext cx="83221" cy="102135"/>
                </a:xfrm>
                <a:custGeom>
                  <a:avLst/>
                  <a:gdLst>
                    <a:gd name="connsiteX0" fmla="*/ 41611 w 83221"/>
                    <a:gd name="connsiteY0" fmla="*/ 102135 h 102135"/>
                    <a:gd name="connsiteX1" fmla="*/ 0 w 83221"/>
                    <a:gd name="connsiteY1" fmla="*/ 87004 h 102135"/>
                    <a:gd name="connsiteX2" fmla="*/ 11979 w 83221"/>
                    <a:gd name="connsiteY2" fmla="*/ 68090 h 102135"/>
                    <a:gd name="connsiteX3" fmla="*/ 40980 w 83221"/>
                    <a:gd name="connsiteY3" fmla="*/ 80069 h 102135"/>
                    <a:gd name="connsiteX4" fmla="*/ 54850 w 83221"/>
                    <a:gd name="connsiteY4" fmla="*/ 71873 h 102135"/>
                    <a:gd name="connsiteX5" fmla="*/ 36567 w 83221"/>
                    <a:gd name="connsiteY5" fmla="*/ 61155 h 102135"/>
                    <a:gd name="connsiteX6" fmla="*/ 5674 w 83221"/>
                    <a:gd name="connsiteY6" fmla="*/ 30893 h 102135"/>
                    <a:gd name="connsiteX7" fmla="*/ 42872 w 83221"/>
                    <a:gd name="connsiteY7" fmla="*/ 0 h 102135"/>
                    <a:gd name="connsiteX8" fmla="*/ 80699 w 83221"/>
                    <a:gd name="connsiteY8" fmla="*/ 11979 h 102135"/>
                    <a:gd name="connsiteX9" fmla="*/ 70612 w 83221"/>
                    <a:gd name="connsiteY9" fmla="*/ 30893 h 102135"/>
                    <a:gd name="connsiteX10" fmla="*/ 46024 w 83221"/>
                    <a:gd name="connsiteY10" fmla="*/ 21436 h 102135"/>
                    <a:gd name="connsiteX11" fmla="*/ 34045 w 83221"/>
                    <a:gd name="connsiteY11" fmla="*/ 28371 h 102135"/>
                    <a:gd name="connsiteX12" fmla="*/ 48546 w 83221"/>
                    <a:gd name="connsiteY12" fmla="*/ 37828 h 102135"/>
                    <a:gd name="connsiteX13" fmla="*/ 83221 w 83221"/>
                    <a:gd name="connsiteY13" fmla="*/ 69982 h 102135"/>
                    <a:gd name="connsiteX14" fmla="*/ 41611 w 83221"/>
                    <a:gd name="connsiteY14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3221" h="102135">
                      <a:moveTo>
                        <a:pt x="41611" y="102135"/>
                      </a:moveTo>
                      <a:cubicBezTo>
                        <a:pt x="27110" y="102135"/>
                        <a:pt x="11348" y="97722"/>
                        <a:pt x="0" y="87004"/>
                      </a:cubicBezTo>
                      <a:lnTo>
                        <a:pt x="11979" y="68090"/>
                      </a:lnTo>
                      <a:cubicBezTo>
                        <a:pt x="20175" y="75025"/>
                        <a:pt x="33415" y="80069"/>
                        <a:pt x="40980" y="80069"/>
                      </a:cubicBezTo>
                      <a:cubicBezTo>
                        <a:pt x="49176" y="80069"/>
                        <a:pt x="54850" y="78178"/>
                        <a:pt x="54850" y="71873"/>
                      </a:cubicBezTo>
                      <a:cubicBezTo>
                        <a:pt x="54850" y="65568"/>
                        <a:pt x="40350" y="62416"/>
                        <a:pt x="36567" y="61155"/>
                      </a:cubicBezTo>
                      <a:cubicBezTo>
                        <a:pt x="20175" y="56742"/>
                        <a:pt x="5674" y="51068"/>
                        <a:pt x="5674" y="30893"/>
                      </a:cubicBezTo>
                      <a:cubicBezTo>
                        <a:pt x="5674" y="11979"/>
                        <a:pt x="22697" y="0"/>
                        <a:pt x="42872" y="0"/>
                      </a:cubicBezTo>
                      <a:cubicBezTo>
                        <a:pt x="63677" y="0"/>
                        <a:pt x="75025" y="7566"/>
                        <a:pt x="80699" y="11979"/>
                      </a:cubicBezTo>
                      <a:lnTo>
                        <a:pt x="70612" y="30893"/>
                      </a:lnTo>
                      <a:cubicBezTo>
                        <a:pt x="64938" y="26479"/>
                        <a:pt x="53589" y="21436"/>
                        <a:pt x="46024" y="21436"/>
                      </a:cubicBezTo>
                      <a:cubicBezTo>
                        <a:pt x="38458" y="21436"/>
                        <a:pt x="34045" y="23327"/>
                        <a:pt x="34045" y="28371"/>
                      </a:cubicBezTo>
                      <a:cubicBezTo>
                        <a:pt x="34045" y="33415"/>
                        <a:pt x="41611" y="35936"/>
                        <a:pt x="48546" y="37828"/>
                      </a:cubicBezTo>
                      <a:cubicBezTo>
                        <a:pt x="65568" y="42872"/>
                        <a:pt x="83221" y="47915"/>
                        <a:pt x="83221" y="69982"/>
                      </a:cubicBezTo>
                      <a:cubicBezTo>
                        <a:pt x="83221" y="93309"/>
                        <a:pt x="61786" y="102135"/>
                        <a:pt x="41611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4" name="Freihandform: Form 17">
                  <a:extLst>
                    <a:ext uri="{FF2B5EF4-FFF2-40B4-BE49-F238E27FC236}">
                      <a16:creationId xmlns:a16="http://schemas.microsoft.com/office/drawing/2014/main" id="{0E3F9CEC-E89D-0B85-2E5B-F5995751ABF7}"/>
                    </a:ext>
                  </a:extLst>
                </p:cNvPr>
                <p:cNvSpPr/>
                <p:nvPr/>
              </p:nvSpPr>
              <p:spPr>
                <a:xfrm>
                  <a:off x="404384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9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9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9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2503" y="31523"/>
                        <a:pt x="65568" y="20805"/>
                        <a:pt x="52329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5" name="Freihandform: Form 18">
                  <a:extLst>
                    <a:ext uri="{FF2B5EF4-FFF2-40B4-BE49-F238E27FC236}">
                      <a16:creationId xmlns:a16="http://schemas.microsoft.com/office/drawing/2014/main" id="{0D56C630-3096-697B-40C7-EAD47544C1C7}"/>
                    </a:ext>
                  </a:extLst>
                </p:cNvPr>
                <p:cNvSpPr/>
                <p:nvPr/>
              </p:nvSpPr>
              <p:spPr>
                <a:xfrm>
                  <a:off x="4192632" y="3572631"/>
                  <a:ext cx="102145" cy="141223"/>
                </a:xfrm>
                <a:custGeom>
                  <a:avLst/>
                  <a:gdLst>
                    <a:gd name="connsiteX0" fmla="*/ 49176 w 102145"/>
                    <a:gd name="connsiteY0" fmla="*/ 141224 h 141223"/>
                    <a:gd name="connsiteX1" fmla="*/ 0 w 102145"/>
                    <a:gd name="connsiteY1" fmla="*/ 120419 h 141223"/>
                    <a:gd name="connsiteX2" fmla="*/ 15762 w 102145"/>
                    <a:gd name="connsiteY2" fmla="*/ 97091 h 141223"/>
                    <a:gd name="connsiteX3" fmla="*/ 51698 w 102145"/>
                    <a:gd name="connsiteY3" fmla="*/ 114744 h 141223"/>
                    <a:gd name="connsiteX4" fmla="*/ 69982 w 102145"/>
                    <a:gd name="connsiteY4" fmla="*/ 100244 h 141223"/>
                    <a:gd name="connsiteX5" fmla="*/ 53589 w 102145"/>
                    <a:gd name="connsiteY5" fmla="*/ 85113 h 141223"/>
                    <a:gd name="connsiteX6" fmla="*/ 32784 w 102145"/>
                    <a:gd name="connsiteY6" fmla="*/ 77547 h 141223"/>
                    <a:gd name="connsiteX7" fmla="*/ 16392 w 102145"/>
                    <a:gd name="connsiteY7" fmla="*/ 67460 h 141223"/>
                    <a:gd name="connsiteX8" fmla="*/ 5674 w 102145"/>
                    <a:gd name="connsiteY8" fmla="*/ 40980 h 141223"/>
                    <a:gd name="connsiteX9" fmla="*/ 20175 w 102145"/>
                    <a:gd name="connsiteY9" fmla="*/ 10718 h 141223"/>
                    <a:gd name="connsiteX10" fmla="*/ 56742 w 102145"/>
                    <a:gd name="connsiteY10" fmla="*/ 0 h 141223"/>
                    <a:gd name="connsiteX11" fmla="*/ 100244 w 102145"/>
                    <a:gd name="connsiteY11" fmla="*/ 17023 h 141223"/>
                    <a:gd name="connsiteX12" fmla="*/ 86374 w 102145"/>
                    <a:gd name="connsiteY12" fmla="*/ 39719 h 141223"/>
                    <a:gd name="connsiteX13" fmla="*/ 55481 w 102145"/>
                    <a:gd name="connsiteY13" fmla="*/ 25849 h 141223"/>
                    <a:gd name="connsiteX14" fmla="*/ 37197 w 102145"/>
                    <a:gd name="connsiteY14" fmla="*/ 38458 h 141223"/>
                    <a:gd name="connsiteX15" fmla="*/ 51068 w 102145"/>
                    <a:gd name="connsiteY15" fmla="*/ 52329 h 141223"/>
                    <a:gd name="connsiteX16" fmla="*/ 71873 w 102145"/>
                    <a:gd name="connsiteY16" fmla="*/ 59894 h 141223"/>
                    <a:gd name="connsiteX17" fmla="*/ 102135 w 102145"/>
                    <a:gd name="connsiteY17" fmla="*/ 97722 h 141223"/>
                    <a:gd name="connsiteX18" fmla="*/ 49176 w 102145"/>
                    <a:gd name="connsiteY18" fmla="*/ 141224 h 14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2145" h="141223">
                      <a:moveTo>
                        <a:pt x="49176" y="141224"/>
                      </a:moveTo>
                      <a:cubicBezTo>
                        <a:pt x="29001" y="141224"/>
                        <a:pt x="11348" y="131137"/>
                        <a:pt x="0" y="120419"/>
                      </a:cubicBezTo>
                      <a:lnTo>
                        <a:pt x="15762" y="97091"/>
                      </a:lnTo>
                      <a:cubicBezTo>
                        <a:pt x="25849" y="107179"/>
                        <a:pt x="40980" y="114744"/>
                        <a:pt x="51698" y="114744"/>
                      </a:cubicBezTo>
                      <a:cubicBezTo>
                        <a:pt x="61786" y="114744"/>
                        <a:pt x="69982" y="109701"/>
                        <a:pt x="69982" y="100244"/>
                      </a:cubicBezTo>
                      <a:cubicBezTo>
                        <a:pt x="69982" y="90787"/>
                        <a:pt x="59894" y="87004"/>
                        <a:pt x="53589" y="85113"/>
                      </a:cubicBezTo>
                      <a:cubicBezTo>
                        <a:pt x="47285" y="83221"/>
                        <a:pt x="37197" y="79438"/>
                        <a:pt x="32784" y="77547"/>
                      </a:cubicBezTo>
                      <a:cubicBezTo>
                        <a:pt x="29632" y="75656"/>
                        <a:pt x="22697" y="73134"/>
                        <a:pt x="16392" y="67460"/>
                      </a:cubicBezTo>
                      <a:cubicBezTo>
                        <a:pt x="10087" y="61786"/>
                        <a:pt x="5674" y="53589"/>
                        <a:pt x="5674" y="40980"/>
                      </a:cubicBezTo>
                      <a:cubicBezTo>
                        <a:pt x="5674" y="27740"/>
                        <a:pt x="11979" y="17653"/>
                        <a:pt x="20175" y="10718"/>
                      </a:cubicBezTo>
                      <a:cubicBezTo>
                        <a:pt x="27740" y="4413"/>
                        <a:pt x="40350" y="0"/>
                        <a:pt x="56742" y="0"/>
                      </a:cubicBezTo>
                      <a:cubicBezTo>
                        <a:pt x="73134" y="0"/>
                        <a:pt x="91417" y="7566"/>
                        <a:pt x="100244" y="17023"/>
                      </a:cubicBezTo>
                      <a:lnTo>
                        <a:pt x="86374" y="39719"/>
                      </a:lnTo>
                      <a:cubicBezTo>
                        <a:pt x="78178" y="31523"/>
                        <a:pt x="66199" y="25849"/>
                        <a:pt x="55481" y="25849"/>
                      </a:cubicBezTo>
                      <a:cubicBezTo>
                        <a:pt x="45393" y="25849"/>
                        <a:pt x="37197" y="29632"/>
                        <a:pt x="37197" y="38458"/>
                      </a:cubicBezTo>
                      <a:cubicBezTo>
                        <a:pt x="37197" y="47285"/>
                        <a:pt x="44763" y="49807"/>
                        <a:pt x="51068" y="52329"/>
                      </a:cubicBezTo>
                      <a:cubicBezTo>
                        <a:pt x="57372" y="54850"/>
                        <a:pt x="67460" y="58633"/>
                        <a:pt x="71873" y="59894"/>
                      </a:cubicBezTo>
                      <a:cubicBezTo>
                        <a:pt x="89526" y="66199"/>
                        <a:pt x="102135" y="77547"/>
                        <a:pt x="102135" y="97722"/>
                      </a:cubicBezTo>
                      <a:cubicBezTo>
                        <a:pt x="102766" y="126723"/>
                        <a:pt x="75656" y="141224"/>
                        <a:pt x="49176" y="141224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6" name="Freihandform: Form 19">
                  <a:extLst>
                    <a:ext uri="{FF2B5EF4-FFF2-40B4-BE49-F238E27FC236}">
                      <a16:creationId xmlns:a16="http://schemas.microsoft.com/office/drawing/2014/main" id="{E9139D93-4E18-DB14-F4DF-9730FAD3D046}"/>
                    </a:ext>
                  </a:extLst>
                </p:cNvPr>
                <p:cNvSpPr/>
                <p:nvPr/>
              </p:nvSpPr>
              <p:spPr>
                <a:xfrm>
                  <a:off x="4304855" y="3611720"/>
                  <a:ext cx="109700" cy="102135"/>
                </a:xfrm>
                <a:custGeom>
                  <a:avLst/>
                  <a:gdLst>
                    <a:gd name="connsiteX0" fmla="*/ 54850 w 109700"/>
                    <a:gd name="connsiteY0" fmla="*/ 102135 h 102135"/>
                    <a:gd name="connsiteX1" fmla="*/ 0 w 109700"/>
                    <a:gd name="connsiteY1" fmla="*/ 51068 h 102135"/>
                    <a:gd name="connsiteX2" fmla="*/ 54850 w 109700"/>
                    <a:gd name="connsiteY2" fmla="*/ 0 h 102135"/>
                    <a:gd name="connsiteX3" fmla="*/ 109701 w 109700"/>
                    <a:gd name="connsiteY3" fmla="*/ 51068 h 102135"/>
                    <a:gd name="connsiteX4" fmla="*/ 54850 w 109700"/>
                    <a:gd name="connsiteY4" fmla="*/ 102135 h 102135"/>
                    <a:gd name="connsiteX5" fmla="*/ 54850 w 109700"/>
                    <a:gd name="connsiteY5" fmla="*/ 24588 h 102135"/>
                    <a:gd name="connsiteX6" fmla="*/ 32154 w 109700"/>
                    <a:gd name="connsiteY6" fmla="*/ 50437 h 102135"/>
                    <a:gd name="connsiteX7" fmla="*/ 54850 w 109700"/>
                    <a:gd name="connsiteY7" fmla="*/ 76286 h 102135"/>
                    <a:gd name="connsiteX8" fmla="*/ 77547 w 109700"/>
                    <a:gd name="connsiteY8" fmla="*/ 50437 h 102135"/>
                    <a:gd name="connsiteX9" fmla="*/ 54850 w 109700"/>
                    <a:gd name="connsiteY9" fmla="*/ 24588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700" h="102135">
                      <a:moveTo>
                        <a:pt x="54850" y="102135"/>
                      </a:moveTo>
                      <a:cubicBezTo>
                        <a:pt x="23958" y="102135"/>
                        <a:pt x="0" y="82591"/>
                        <a:pt x="0" y="51068"/>
                      </a:cubicBezTo>
                      <a:cubicBezTo>
                        <a:pt x="0" y="19544"/>
                        <a:pt x="23327" y="0"/>
                        <a:pt x="54850" y="0"/>
                      </a:cubicBezTo>
                      <a:cubicBezTo>
                        <a:pt x="85743" y="0"/>
                        <a:pt x="109701" y="19544"/>
                        <a:pt x="109701" y="51068"/>
                      </a:cubicBezTo>
                      <a:cubicBezTo>
                        <a:pt x="109070" y="82591"/>
                        <a:pt x="85743" y="102135"/>
                        <a:pt x="54850" y="102135"/>
                      </a:cubicBezTo>
                      <a:close/>
                      <a:moveTo>
                        <a:pt x="54850" y="24588"/>
                      </a:moveTo>
                      <a:cubicBezTo>
                        <a:pt x="40350" y="24588"/>
                        <a:pt x="32154" y="35306"/>
                        <a:pt x="32154" y="50437"/>
                      </a:cubicBezTo>
                      <a:cubicBezTo>
                        <a:pt x="32154" y="65568"/>
                        <a:pt x="40350" y="76286"/>
                        <a:pt x="54850" y="76286"/>
                      </a:cubicBezTo>
                      <a:cubicBezTo>
                        <a:pt x="68721" y="76286"/>
                        <a:pt x="77547" y="65568"/>
                        <a:pt x="77547" y="50437"/>
                      </a:cubicBezTo>
                      <a:cubicBezTo>
                        <a:pt x="77547" y="35306"/>
                        <a:pt x="68721" y="24588"/>
                        <a:pt x="54850" y="24588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7" name="Freihandform: Form 20">
                  <a:extLst>
                    <a:ext uri="{FF2B5EF4-FFF2-40B4-BE49-F238E27FC236}">
                      <a16:creationId xmlns:a16="http://schemas.microsoft.com/office/drawing/2014/main" id="{037F1F52-F36D-87A4-DE5B-47A400FEC35C}"/>
                    </a:ext>
                  </a:extLst>
                </p:cNvPr>
                <p:cNvSpPr/>
                <p:nvPr/>
              </p:nvSpPr>
              <p:spPr>
                <a:xfrm>
                  <a:off x="4420860" y="3570740"/>
                  <a:ext cx="131767" cy="143115"/>
                </a:xfrm>
                <a:custGeom>
                  <a:avLst/>
                  <a:gdLst>
                    <a:gd name="connsiteX0" fmla="*/ 110331 w 131767"/>
                    <a:gd name="connsiteY0" fmla="*/ 66829 h 143115"/>
                    <a:gd name="connsiteX1" fmla="*/ 110331 w 131767"/>
                    <a:gd name="connsiteY1" fmla="*/ 102135 h 143115"/>
                    <a:gd name="connsiteX2" fmla="*/ 120419 w 131767"/>
                    <a:gd name="connsiteY2" fmla="*/ 116636 h 143115"/>
                    <a:gd name="connsiteX3" fmla="*/ 129876 w 131767"/>
                    <a:gd name="connsiteY3" fmla="*/ 114744 h 143115"/>
                    <a:gd name="connsiteX4" fmla="*/ 131767 w 131767"/>
                    <a:gd name="connsiteY4" fmla="*/ 139963 h 143115"/>
                    <a:gd name="connsiteX5" fmla="*/ 109070 w 131767"/>
                    <a:gd name="connsiteY5" fmla="*/ 143115 h 143115"/>
                    <a:gd name="connsiteX6" fmla="*/ 78178 w 131767"/>
                    <a:gd name="connsiteY6" fmla="*/ 104657 h 143115"/>
                    <a:gd name="connsiteX7" fmla="*/ 78178 w 131767"/>
                    <a:gd name="connsiteY7" fmla="*/ 66199 h 143115"/>
                    <a:gd name="connsiteX8" fmla="*/ 44763 w 131767"/>
                    <a:gd name="connsiteY8" fmla="*/ 66199 h 143115"/>
                    <a:gd name="connsiteX9" fmla="*/ 44763 w 131767"/>
                    <a:gd name="connsiteY9" fmla="*/ 140594 h 143115"/>
                    <a:gd name="connsiteX10" fmla="*/ 12609 w 131767"/>
                    <a:gd name="connsiteY10" fmla="*/ 140594 h 143115"/>
                    <a:gd name="connsiteX11" fmla="*/ 12609 w 131767"/>
                    <a:gd name="connsiteY11" fmla="*/ 66199 h 143115"/>
                    <a:gd name="connsiteX12" fmla="*/ 0 w 131767"/>
                    <a:gd name="connsiteY12" fmla="*/ 66199 h 143115"/>
                    <a:gd name="connsiteX13" fmla="*/ 0 w 131767"/>
                    <a:gd name="connsiteY13" fmla="*/ 42241 h 143115"/>
                    <a:gd name="connsiteX14" fmla="*/ 12609 w 131767"/>
                    <a:gd name="connsiteY14" fmla="*/ 42241 h 143115"/>
                    <a:gd name="connsiteX15" fmla="*/ 12609 w 131767"/>
                    <a:gd name="connsiteY15" fmla="*/ 36567 h 143115"/>
                    <a:gd name="connsiteX16" fmla="*/ 47915 w 131767"/>
                    <a:gd name="connsiteY16" fmla="*/ 0 h 143115"/>
                    <a:gd name="connsiteX17" fmla="*/ 69982 w 131767"/>
                    <a:gd name="connsiteY17" fmla="*/ 2522 h 143115"/>
                    <a:gd name="connsiteX18" fmla="*/ 68090 w 131767"/>
                    <a:gd name="connsiteY18" fmla="*/ 24588 h 143115"/>
                    <a:gd name="connsiteX19" fmla="*/ 56111 w 131767"/>
                    <a:gd name="connsiteY19" fmla="*/ 22697 h 143115"/>
                    <a:gd name="connsiteX20" fmla="*/ 44133 w 131767"/>
                    <a:gd name="connsiteY20" fmla="*/ 35306 h 143115"/>
                    <a:gd name="connsiteX21" fmla="*/ 44133 w 131767"/>
                    <a:gd name="connsiteY21" fmla="*/ 41611 h 143115"/>
                    <a:gd name="connsiteX22" fmla="*/ 77547 w 131767"/>
                    <a:gd name="connsiteY22" fmla="*/ 41611 h 143115"/>
                    <a:gd name="connsiteX23" fmla="*/ 77547 w 131767"/>
                    <a:gd name="connsiteY23" fmla="*/ 15131 h 143115"/>
                    <a:gd name="connsiteX24" fmla="*/ 109701 w 131767"/>
                    <a:gd name="connsiteY24" fmla="*/ 15131 h 143115"/>
                    <a:gd name="connsiteX25" fmla="*/ 109701 w 131767"/>
                    <a:gd name="connsiteY25" fmla="*/ 41611 h 143115"/>
                    <a:gd name="connsiteX26" fmla="*/ 131767 w 131767"/>
                    <a:gd name="connsiteY26" fmla="*/ 41611 h 143115"/>
                    <a:gd name="connsiteX27" fmla="*/ 131767 w 131767"/>
                    <a:gd name="connsiteY27" fmla="*/ 65568 h 143115"/>
                    <a:gd name="connsiteX28" fmla="*/ 110331 w 131767"/>
                    <a:gd name="connsiteY28" fmla="*/ 65568 h 143115"/>
                    <a:gd name="connsiteX29" fmla="*/ 110331 w 131767"/>
                    <a:gd name="connsiteY29" fmla="*/ 66829 h 143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31767" h="143115">
                      <a:moveTo>
                        <a:pt x="110331" y="66829"/>
                      </a:moveTo>
                      <a:lnTo>
                        <a:pt x="110331" y="102135"/>
                      </a:lnTo>
                      <a:cubicBezTo>
                        <a:pt x="110331" y="110962"/>
                        <a:pt x="110962" y="116636"/>
                        <a:pt x="120419" y="116636"/>
                      </a:cubicBezTo>
                      <a:cubicBezTo>
                        <a:pt x="125462" y="116636"/>
                        <a:pt x="129876" y="114744"/>
                        <a:pt x="129876" y="114744"/>
                      </a:cubicBezTo>
                      <a:lnTo>
                        <a:pt x="131767" y="139963"/>
                      </a:lnTo>
                      <a:cubicBezTo>
                        <a:pt x="129245" y="140594"/>
                        <a:pt x="120419" y="143115"/>
                        <a:pt x="109070" y="143115"/>
                      </a:cubicBezTo>
                      <a:cubicBezTo>
                        <a:pt x="83221" y="143115"/>
                        <a:pt x="78178" y="127354"/>
                        <a:pt x="78178" y="104657"/>
                      </a:cubicBezTo>
                      <a:lnTo>
                        <a:pt x="78178" y="66199"/>
                      </a:lnTo>
                      <a:lnTo>
                        <a:pt x="44763" y="66199"/>
                      </a:lnTo>
                      <a:lnTo>
                        <a:pt x="44763" y="140594"/>
                      </a:lnTo>
                      <a:lnTo>
                        <a:pt x="12609" y="140594"/>
                      </a:lnTo>
                      <a:lnTo>
                        <a:pt x="12609" y="66199"/>
                      </a:lnTo>
                      <a:lnTo>
                        <a:pt x="0" y="66199"/>
                      </a:lnTo>
                      <a:lnTo>
                        <a:pt x="0" y="42241"/>
                      </a:lnTo>
                      <a:lnTo>
                        <a:pt x="12609" y="42241"/>
                      </a:lnTo>
                      <a:lnTo>
                        <a:pt x="12609" y="36567"/>
                      </a:lnTo>
                      <a:cubicBezTo>
                        <a:pt x="12609" y="13240"/>
                        <a:pt x="23958" y="0"/>
                        <a:pt x="47915" y="0"/>
                      </a:cubicBezTo>
                      <a:cubicBezTo>
                        <a:pt x="60525" y="0"/>
                        <a:pt x="69982" y="2522"/>
                        <a:pt x="69982" y="2522"/>
                      </a:cubicBezTo>
                      <a:lnTo>
                        <a:pt x="68090" y="24588"/>
                      </a:lnTo>
                      <a:cubicBezTo>
                        <a:pt x="68090" y="24588"/>
                        <a:pt x="61786" y="22697"/>
                        <a:pt x="56111" y="22697"/>
                      </a:cubicBezTo>
                      <a:cubicBezTo>
                        <a:pt x="46654" y="22697"/>
                        <a:pt x="44133" y="28371"/>
                        <a:pt x="44133" y="35306"/>
                      </a:cubicBezTo>
                      <a:lnTo>
                        <a:pt x="44133" y="41611"/>
                      </a:lnTo>
                      <a:lnTo>
                        <a:pt x="77547" y="41611"/>
                      </a:lnTo>
                      <a:lnTo>
                        <a:pt x="77547" y="15131"/>
                      </a:lnTo>
                      <a:lnTo>
                        <a:pt x="109701" y="15131"/>
                      </a:lnTo>
                      <a:lnTo>
                        <a:pt x="109701" y="41611"/>
                      </a:lnTo>
                      <a:lnTo>
                        <a:pt x="131767" y="41611"/>
                      </a:lnTo>
                      <a:lnTo>
                        <a:pt x="131767" y="65568"/>
                      </a:lnTo>
                      <a:lnTo>
                        <a:pt x="110331" y="65568"/>
                      </a:lnTo>
                      <a:lnTo>
                        <a:pt x="110331" y="66829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8" name="Freihandform: Form 21">
                  <a:extLst>
                    <a:ext uri="{FF2B5EF4-FFF2-40B4-BE49-F238E27FC236}">
                      <a16:creationId xmlns:a16="http://schemas.microsoft.com/office/drawing/2014/main" id="{C2B34A46-D9D5-2453-6BFB-C95DE49ED35D}"/>
                    </a:ext>
                  </a:extLst>
                </p:cNvPr>
                <p:cNvSpPr/>
                <p:nvPr/>
              </p:nvSpPr>
              <p:spPr>
                <a:xfrm>
                  <a:off x="4555780" y="3612981"/>
                  <a:ext cx="163920" cy="98352"/>
                </a:xfrm>
                <a:custGeom>
                  <a:avLst/>
                  <a:gdLst>
                    <a:gd name="connsiteX0" fmla="*/ 131137 w 163920"/>
                    <a:gd name="connsiteY0" fmla="*/ 98352 h 98352"/>
                    <a:gd name="connsiteX1" fmla="*/ 100874 w 163920"/>
                    <a:gd name="connsiteY1" fmla="*/ 98352 h 98352"/>
                    <a:gd name="connsiteX2" fmla="*/ 81960 w 163920"/>
                    <a:gd name="connsiteY2" fmla="*/ 37828 h 98352"/>
                    <a:gd name="connsiteX3" fmla="*/ 62416 w 163920"/>
                    <a:gd name="connsiteY3" fmla="*/ 98352 h 98352"/>
                    <a:gd name="connsiteX4" fmla="*/ 32154 w 163920"/>
                    <a:gd name="connsiteY4" fmla="*/ 98352 h 98352"/>
                    <a:gd name="connsiteX5" fmla="*/ 0 w 163920"/>
                    <a:gd name="connsiteY5" fmla="*/ 0 h 98352"/>
                    <a:gd name="connsiteX6" fmla="*/ 32154 w 163920"/>
                    <a:gd name="connsiteY6" fmla="*/ 0 h 98352"/>
                    <a:gd name="connsiteX7" fmla="*/ 49807 w 163920"/>
                    <a:gd name="connsiteY7" fmla="*/ 63046 h 98352"/>
                    <a:gd name="connsiteX8" fmla="*/ 68721 w 163920"/>
                    <a:gd name="connsiteY8" fmla="*/ 0 h 98352"/>
                    <a:gd name="connsiteX9" fmla="*/ 95200 w 163920"/>
                    <a:gd name="connsiteY9" fmla="*/ 0 h 98352"/>
                    <a:gd name="connsiteX10" fmla="*/ 114114 w 163920"/>
                    <a:gd name="connsiteY10" fmla="*/ 63046 h 98352"/>
                    <a:gd name="connsiteX11" fmla="*/ 131767 w 163920"/>
                    <a:gd name="connsiteY11" fmla="*/ 0 h 98352"/>
                    <a:gd name="connsiteX12" fmla="*/ 163921 w 163920"/>
                    <a:gd name="connsiteY12" fmla="*/ 0 h 98352"/>
                    <a:gd name="connsiteX13" fmla="*/ 131137 w 163920"/>
                    <a:gd name="connsiteY13" fmla="*/ 98352 h 98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63920" h="98352">
                      <a:moveTo>
                        <a:pt x="131137" y="98352"/>
                      </a:moveTo>
                      <a:lnTo>
                        <a:pt x="100874" y="98352"/>
                      </a:lnTo>
                      <a:lnTo>
                        <a:pt x="81960" y="37828"/>
                      </a:lnTo>
                      <a:lnTo>
                        <a:pt x="62416" y="98352"/>
                      </a:lnTo>
                      <a:lnTo>
                        <a:pt x="32154" y="9835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49807" y="63046"/>
                      </a:lnTo>
                      <a:lnTo>
                        <a:pt x="68721" y="0"/>
                      </a:lnTo>
                      <a:lnTo>
                        <a:pt x="95200" y="0"/>
                      </a:lnTo>
                      <a:lnTo>
                        <a:pt x="114114" y="63046"/>
                      </a:lnTo>
                      <a:lnTo>
                        <a:pt x="131767" y="0"/>
                      </a:lnTo>
                      <a:lnTo>
                        <a:pt x="163921" y="0"/>
                      </a:lnTo>
                      <a:lnTo>
                        <a:pt x="131137" y="9835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9" name="Freihandform: Form 22">
                  <a:extLst>
                    <a:ext uri="{FF2B5EF4-FFF2-40B4-BE49-F238E27FC236}">
                      <a16:creationId xmlns:a16="http://schemas.microsoft.com/office/drawing/2014/main" id="{AE8340F9-CD55-E3EA-285B-B8019E85A557}"/>
                    </a:ext>
                  </a:extLst>
                </p:cNvPr>
                <p:cNvSpPr/>
                <p:nvPr/>
              </p:nvSpPr>
              <p:spPr>
                <a:xfrm>
                  <a:off x="4724114" y="3611090"/>
                  <a:ext cx="95200" cy="102765"/>
                </a:xfrm>
                <a:custGeom>
                  <a:avLst/>
                  <a:gdLst>
                    <a:gd name="connsiteX0" fmla="*/ 64938 w 95200"/>
                    <a:gd name="connsiteY0" fmla="*/ 100244 h 102765"/>
                    <a:gd name="connsiteX1" fmla="*/ 64307 w 95200"/>
                    <a:gd name="connsiteY1" fmla="*/ 90156 h 102765"/>
                    <a:gd name="connsiteX2" fmla="*/ 35937 w 95200"/>
                    <a:gd name="connsiteY2" fmla="*/ 102766 h 102765"/>
                    <a:gd name="connsiteX3" fmla="*/ 0 w 95200"/>
                    <a:gd name="connsiteY3" fmla="*/ 71242 h 102765"/>
                    <a:gd name="connsiteX4" fmla="*/ 38458 w 95200"/>
                    <a:gd name="connsiteY4" fmla="*/ 40980 h 102765"/>
                    <a:gd name="connsiteX5" fmla="*/ 63046 w 95200"/>
                    <a:gd name="connsiteY5" fmla="*/ 39719 h 102765"/>
                    <a:gd name="connsiteX6" fmla="*/ 63046 w 95200"/>
                    <a:gd name="connsiteY6" fmla="*/ 37828 h 102765"/>
                    <a:gd name="connsiteX7" fmla="*/ 42872 w 95200"/>
                    <a:gd name="connsiteY7" fmla="*/ 22066 h 102765"/>
                    <a:gd name="connsiteX8" fmla="*/ 12609 w 95200"/>
                    <a:gd name="connsiteY8" fmla="*/ 30893 h 102765"/>
                    <a:gd name="connsiteX9" fmla="*/ 4413 w 95200"/>
                    <a:gd name="connsiteY9" fmla="*/ 10087 h 102765"/>
                    <a:gd name="connsiteX10" fmla="*/ 46655 w 95200"/>
                    <a:gd name="connsiteY10" fmla="*/ 0 h 102765"/>
                    <a:gd name="connsiteX11" fmla="*/ 95200 w 95200"/>
                    <a:gd name="connsiteY11" fmla="*/ 44763 h 102765"/>
                    <a:gd name="connsiteX12" fmla="*/ 95200 w 95200"/>
                    <a:gd name="connsiteY12" fmla="*/ 100244 h 102765"/>
                    <a:gd name="connsiteX13" fmla="*/ 64938 w 95200"/>
                    <a:gd name="connsiteY13" fmla="*/ 100244 h 102765"/>
                    <a:gd name="connsiteX14" fmla="*/ 47915 w 95200"/>
                    <a:gd name="connsiteY14" fmla="*/ 58003 h 102765"/>
                    <a:gd name="connsiteX15" fmla="*/ 32154 w 95200"/>
                    <a:gd name="connsiteY15" fmla="*/ 69982 h 102765"/>
                    <a:gd name="connsiteX16" fmla="*/ 47285 w 95200"/>
                    <a:gd name="connsiteY16" fmla="*/ 81960 h 102765"/>
                    <a:gd name="connsiteX17" fmla="*/ 63677 w 95200"/>
                    <a:gd name="connsiteY17" fmla="*/ 73134 h 102765"/>
                    <a:gd name="connsiteX18" fmla="*/ 63677 w 95200"/>
                    <a:gd name="connsiteY18" fmla="*/ 56742 h 102765"/>
                    <a:gd name="connsiteX19" fmla="*/ 47915 w 95200"/>
                    <a:gd name="connsiteY19" fmla="*/ 58003 h 102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95200" h="102765">
                      <a:moveTo>
                        <a:pt x="64938" y="100244"/>
                      </a:moveTo>
                      <a:lnTo>
                        <a:pt x="64307" y="90156"/>
                      </a:lnTo>
                      <a:cubicBezTo>
                        <a:pt x="59894" y="94570"/>
                        <a:pt x="52329" y="102766"/>
                        <a:pt x="35937" y="102766"/>
                      </a:cubicBezTo>
                      <a:cubicBezTo>
                        <a:pt x="18284" y="102766"/>
                        <a:pt x="0" y="93309"/>
                        <a:pt x="0" y="71242"/>
                      </a:cubicBezTo>
                      <a:cubicBezTo>
                        <a:pt x="0" y="49176"/>
                        <a:pt x="20175" y="41611"/>
                        <a:pt x="38458" y="40980"/>
                      </a:cubicBezTo>
                      <a:lnTo>
                        <a:pt x="63046" y="39719"/>
                      </a:lnTo>
                      <a:lnTo>
                        <a:pt x="63046" y="37828"/>
                      </a:lnTo>
                      <a:cubicBezTo>
                        <a:pt x="63046" y="27740"/>
                        <a:pt x="55481" y="22066"/>
                        <a:pt x="42872" y="22066"/>
                      </a:cubicBezTo>
                      <a:cubicBezTo>
                        <a:pt x="30262" y="22066"/>
                        <a:pt x="17653" y="27740"/>
                        <a:pt x="12609" y="30893"/>
                      </a:cubicBezTo>
                      <a:lnTo>
                        <a:pt x="4413" y="10087"/>
                      </a:lnTo>
                      <a:cubicBezTo>
                        <a:pt x="12609" y="5674"/>
                        <a:pt x="28371" y="0"/>
                        <a:pt x="46655" y="0"/>
                      </a:cubicBezTo>
                      <a:cubicBezTo>
                        <a:pt x="77547" y="0"/>
                        <a:pt x="95200" y="12609"/>
                        <a:pt x="95200" y="44763"/>
                      </a:cubicBezTo>
                      <a:lnTo>
                        <a:pt x="95200" y="100244"/>
                      </a:lnTo>
                      <a:lnTo>
                        <a:pt x="64938" y="100244"/>
                      </a:lnTo>
                      <a:close/>
                      <a:moveTo>
                        <a:pt x="47915" y="58003"/>
                      </a:moveTo>
                      <a:cubicBezTo>
                        <a:pt x="37828" y="58633"/>
                        <a:pt x="32154" y="62416"/>
                        <a:pt x="32154" y="69982"/>
                      </a:cubicBezTo>
                      <a:cubicBezTo>
                        <a:pt x="32154" y="77547"/>
                        <a:pt x="38458" y="81960"/>
                        <a:pt x="47285" y="81960"/>
                      </a:cubicBezTo>
                      <a:cubicBezTo>
                        <a:pt x="56111" y="81960"/>
                        <a:pt x="61786" y="76286"/>
                        <a:pt x="63677" y="73134"/>
                      </a:cubicBezTo>
                      <a:lnTo>
                        <a:pt x="63677" y="56742"/>
                      </a:lnTo>
                      <a:lnTo>
                        <a:pt x="47915" y="5800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0" name="Freihandform: Form 23">
                  <a:extLst>
                    <a:ext uri="{FF2B5EF4-FFF2-40B4-BE49-F238E27FC236}">
                      <a16:creationId xmlns:a16="http://schemas.microsoft.com/office/drawing/2014/main" id="{456A9BBF-3109-E7E4-ED5A-83277E281B94}"/>
                    </a:ext>
                  </a:extLst>
                </p:cNvPr>
                <p:cNvSpPr/>
                <p:nvPr/>
              </p:nvSpPr>
              <p:spPr>
                <a:xfrm>
                  <a:off x="4840119" y="3611090"/>
                  <a:ext cx="67459" cy="100243"/>
                </a:xfrm>
                <a:custGeom>
                  <a:avLst/>
                  <a:gdLst>
                    <a:gd name="connsiteX0" fmla="*/ 64307 w 67459"/>
                    <a:gd name="connsiteY0" fmla="*/ 31523 h 100243"/>
                    <a:gd name="connsiteX1" fmla="*/ 63046 w 67459"/>
                    <a:gd name="connsiteY1" fmla="*/ 31523 h 100243"/>
                    <a:gd name="connsiteX2" fmla="*/ 51698 w 67459"/>
                    <a:gd name="connsiteY2" fmla="*/ 29001 h 100243"/>
                    <a:gd name="connsiteX3" fmla="*/ 32154 w 67459"/>
                    <a:gd name="connsiteY3" fmla="*/ 56742 h 100243"/>
                    <a:gd name="connsiteX4" fmla="*/ 32154 w 67459"/>
                    <a:gd name="connsiteY4" fmla="*/ 100244 h 100243"/>
                    <a:gd name="connsiteX5" fmla="*/ 0 w 67459"/>
                    <a:gd name="connsiteY5" fmla="*/ 100244 h 100243"/>
                    <a:gd name="connsiteX6" fmla="*/ 0 w 67459"/>
                    <a:gd name="connsiteY6" fmla="*/ 1891 h 100243"/>
                    <a:gd name="connsiteX7" fmla="*/ 32154 w 67459"/>
                    <a:gd name="connsiteY7" fmla="*/ 1891 h 100243"/>
                    <a:gd name="connsiteX8" fmla="*/ 32154 w 67459"/>
                    <a:gd name="connsiteY8" fmla="*/ 15762 h 100243"/>
                    <a:gd name="connsiteX9" fmla="*/ 32784 w 67459"/>
                    <a:gd name="connsiteY9" fmla="*/ 15762 h 100243"/>
                    <a:gd name="connsiteX10" fmla="*/ 57372 w 67459"/>
                    <a:gd name="connsiteY10" fmla="*/ 0 h 100243"/>
                    <a:gd name="connsiteX11" fmla="*/ 67460 w 67459"/>
                    <a:gd name="connsiteY11" fmla="*/ 1891 h 100243"/>
                    <a:gd name="connsiteX12" fmla="*/ 64307 w 67459"/>
                    <a:gd name="connsiteY12" fmla="*/ 3152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7459" h="100243">
                      <a:moveTo>
                        <a:pt x="64307" y="31523"/>
                      </a:moveTo>
                      <a:lnTo>
                        <a:pt x="63046" y="31523"/>
                      </a:lnTo>
                      <a:cubicBezTo>
                        <a:pt x="61155" y="30262"/>
                        <a:pt x="56742" y="29001"/>
                        <a:pt x="51698" y="29001"/>
                      </a:cubicBezTo>
                      <a:cubicBezTo>
                        <a:pt x="35936" y="29001"/>
                        <a:pt x="32154" y="43502"/>
                        <a:pt x="32154" y="56742"/>
                      </a:cubicBezTo>
                      <a:lnTo>
                        <a:pt x="32154" y="100244"/>
                      </a:lnTo>
                      <a:lnTo>
                        <a:pt x="0" y="100244"/>
                      </a:lnTo>
                      <a:lnTo>
                        <a:pt x="0" y="1891"/>
                      </a:lnTo>
                      <a:lnTo>
                        <a:pt x="32154" y="189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5044"/>
                        <a:pt x="46654" y="0"/>
                        <a:pt x="57372" y="0"/>
                      </a:cubicBezTo>
                      <a:cubicBezTo>
                        <a:pt x="63677" y="0"/>
                        <a:pt x="67460" y="1891"/>
                        <a:pt x="67460" y="1891"/>
                      </a:cubicBezTo>
                      <a:lnTo>
                        <a:pt x="64307" y="3152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1" name="Freihandform: Form 24">
                  <a:extLst>
                    <a:ext uri="{FF2B5EF4-FFF2-40B4-BE49-F238E27FC236}">
                      <a16:creationId xmlns:a16="http://schemas.microsoft.com/office/drawing/2014/main" id="{80E3DB10-743F-C3A0-A56A-066A371C0217}"/>
                    </a:ext>
                  </a:extLst>
                </p:cNvPr>
                <p:cNvSpPr/>
                <p:nvPr/>
              </p:nvSpPr>
              <p:spPr>
                <a:xfrm>
                  <a:off x="4910731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700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2" name="Freihandform: Form 25">
                  <a:extLst>
                    <a:ext uri="{FF2B5EF4-FFF2-40B4-BE49-F238E27FC236}">
                      <a16:creationId xmlns:a16="http://schemas.microsoft.com/office/drawing/2014/main" id="{176E4D89-4EBD-C435-F46E-0FBC1504C0EC}"/>
                    </a:ext>
                  </a:extLst>
                </p:cNvPr>
                <p:cNvSpPr/>
                <p:nvPr/>
              </p:nvSpPr>
              <p:spPr>
                <a:xfrm>
                  <a:off x="5068978" y="3573262"/>
                  <a:ext cx="122310" cy="138071"/>
                </a:xfrm>
                <a:custGeom>
                  <a:avLst/>
                  <a:gdLst>
                    <a:gd name="connsiteX0" fmla="*/ 46654 w 122310"/>
                    <a:gd name="connsiteY0" fmla="*/ 138072 h 138071"/>
                    <a:gd name="connsiteX1" fmla="*/ 0 w 122310"/>
                    <a:gd name="connsiteY1" fmla="*/ 138072 h 138071"/>
                    <a:gd name="connsiteX2" fmla="*/ 0 w 122310"/>
                    <a:gd name="connsiteY2" fmla="*/ 0 h 138071"/>
                    <a:gd name="connsiteX3" fmla="*/ 46654 w 122310"/>
                    <a:gd name="connsiteY3" fmla="*/ 0 h 138071"/>
                    <a:gd name="connsiteX4" fmla="*/ 122310 w 122310"/>
                    <a:gd name="connsiteY4" fmla="*/ 68721 h 138071"/>
                    <a:gd name="connsiteX5" fmla="*/ 46654 w 122310"/>
                    <a:gd name="connsiteY5" fmla="*/ 138072 h 138071"/>
                    <a:gd name="connsiteX6" fmla="*/ 48546 w 122310"/>
                    <a:gd name="connsiteY6" fmla="*/ 27110 h 138071"/>
                    <a:gd name="connsiteX7" fmla="*/ 32154 w 122310"/>
                    <a:gd name="connsiteY7" fmla="*/ 27110 h 138071"/>
                    <a:gd name="connsiteX8" fmla="*/ 32154 w 122310"/>
                    <a:gd name="connsiteY8" fmla="*/ 110962 h 138071"/>
                    <a:gd name="connsiteX9" fmla="*/ 48546 w 122310"/>
                    <a:gd name="connsiteY9" fmla="*/ 110962 h 138071"/>
                    <a:gd name="connsiteX10" fmla="*/ 89526 w 122310"/>
                    <a:gd name="connsiteY10" fmla="*/ 69351 h 138071"/>
                    <a:gd name="connsiteX11" fmla="*/ 48546 w 122310"/>
                    <a:gd name="connsiteY11" fmla="*/ 27110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2310" h="138071">
                      <a:moveTo>
                        <a:pt x="46654" y="138072"/>
                      </a:move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46654" y="0"/>
                      </a:lnTo>
                      <a:cubicBezTo>
                        <a:pt x="90156" y="0"/>
                        <a:pt x="122310" y="22697"/>
                        <a:pt x="122310" y="68721"/>
                      </a:cubicBezTo>
                      <a:cubicBezTo>
                        <a:pt x="122310" y="115375"/>
                        <a:pt x="90156" y="138072"/>
                        <a:pt x="46654" y="138072"/>
                      </a:cubicBezTo>
                      <a:close/>
                      <a:moveTo>
                        <a:pt x="48546" y="27110"/>
                      </a:moveTo>
                      <a:lnTo>
                        <a:pt x="32154" y="27110"/>
                      </a:lnTo>
                      <a:lnTo>
                        <a:pt x="32154" y="110962"/>
                      </a:lnTo>
                      <a:lnTo>
                        <a:pt x="48546" y="110962"/>
                      </a:lnTo>
                      <a:cubicBezTo>
                        <a:pt x="74395" y="110962"/>
                        <a:pt x="89526" y="95200"/>
                        <a:pt x="89526" y="69351"/>
                      </a:cubicBezTo>
                      <a:cubicBezTo>
                        <a:pt x="89526" y="43502"/>
                        <a:pt x="74395" y="27110"/>
                        <a:pt x="48546" y="27110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3" name="Freihandform: Form 26">
                  <a:extLst>
                    <a:ext uri="{FF2B5EF4-FFF2-40B4-BE49-F238E27FC236}">
                      <a16:creationId xmlns:a16="http://schemas.microsoft.com/office/drawing/2014/main" id="{F1818061-D870-46D7-6B9D-9578B2406AE6}"/>
                    </a:ext>
                  </a:extLst>
                </p:cNvPr>
                <p:cNvSpPr/>
                <p:nvPr/>
              </p:nvSpPr>
              <p:spPr>
                <a:xfrm>
                  <a:off x="5202006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8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8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1873" y="31523"/>
                        <a:pt x="65568" y="20805"/>
                        <a:pt x="5232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4" name="Freihandform: Form 27">
                  <a:extLst>
                    <a:ext uri="{FF2B5EF4-FFF2-40B4-BE49-F238E27FC236}">
                      <a16:creationId xmlns:a16="http://schemas.microsoft.com/office/drawing/2014/main" id="{099EE00D-3E7F-62C6-81EB-3E5F670164E3}"/>
                    </a:ext>
                  </a:extLst>
                </p:cNvPr>
                <p:cNvSpPr/>
                <p:nvPr/>
              </p:nvSpPr>
              <p:spPr>
                <a:xfrm>
                  <a:off x="5310445" y="3568849"/>
                  <a:ext cx="110331" cy="142484"/>
                </a:xfrm>
                <a:custGeom>
                  <a:avLst/>
                  <a:gdLst>
                    <a:gd name="connsiteX0" fmla="*/ 56742 w 110331"/>
                    <a:gd name="connsiteY0" fmla="*/ 25219 h 142484"/>
                    <a:gd name="connsiteX1" fmla="*/ 44763 w 110331"/>
                    <a:gd name="connsiteY1" fmla="*/ 40350 h 142484"/>
                    <a:gd name="connsiteX2" fmla="*/ 44763 w 110331"/>
                    <a:gd name="connsiteY2" fmla="*/ 44132 h 142484"/>
                    <a:gd name="connsiteX3" fmla="*/ 66199 w 110331"/>
                    <a:gd name="connsiteY3" fmla="*/ 44132 h 142484"/>
                    <a:gd name="connsiteX4" fmla="*/ 66199 w 110331"/>
                    <a:gd name="connsiteY4" fmla="*/ 68090 h 142484"/>
                    <a:gd name="connsiteX5" fmla="*/ 44763 w 110331"/>
                    <a:gd name="connsiteY5" fmla="*/ 68090 h 142484"/>
                    <a:gd name="connsiteX6" fmla="*/ 44763 w 110331"/>
                    <a:gd name="connsiteY6" fmla="*/ 142485 h 142484"/>
                    <a:gd name="connsiteX7" fmla="*/ 12609 w 110331"/>
                    <a:gd name="connsiteY7" fmla="*/ 142485 h 142484"/>
                    <a:gd name="connsiteX8" fmla="*/ 12609 w 110331"/>
                    <a:gd name="connsiteY8" fmla="*/ 68090 h 142484"/>
                    <a:gd name="connsiteX9" fmla="*/ 0 w 110331"/>
                    <a:gd name="connsiteY9" fmla="*/ 68090 h 142484"/>
                    <a:gd name="connsiteX10" fmla="*/ 0 w 110331"/>
                    <a:gd name="connsiteY10" fmla="*/ 44132 h 142484"/>
                    <a:gd name="connsiteX11" fmla="*/ 12609 w 110331"/>
                    <a:gd name="connsiteY11" fmla="*/ 44132 h 142484"/>
                    <a:gd name="connsiteX12" fmla="*/ 12609 w 110331"/>
                    <a:gd name="connsiteY12" fmla="*/ 38458 h 142484"/>
                    <a:gd name="connsiteX13" fmla="*/ 48546 w 110331"/>
                    <a:gd name="connsiteY13" fmla="*/ 1891 h 142484"/>
                    <a:gd name="connsiteX14" fmla="*/ 69351 w 110331"/>
                    <a:gd name="connsiteY14" fmla="*/ 4413 h 142484"/>
                    <a:gd name="connsiteX15" fmla="*/ 67460 w 110331"/>
                    <a:gd name="connsiteY15" fmla="*/ 26479 h 142484"/>
                    <a:gd name="connsiteX16" fmla="*/ 56742 w 110331"/>
                    <a:gd name="connsiteY16" fmla="*/ 25219 h 142484"/>
                    <a:gd name="connsiteX17" fmla="*/ 92048 w 110331"/>
                    <a:gd name="connsiteY17" fmla="*/ 32784 h 142484"/>
                    <a:gd name="connsiteX18" fmla="*/ 73764 w 110331"/>
                    <a:gd name="connsiteY18" fmla="*/ 16392 h 142484"/>
                    <a:gd name="connsiteX19" fmla="*/ 92048 w 110331"/>
                    <a:gd name="connsiteY19" fmla="*/ 0 h 142484"/>
                    <a:gd name="connsiteX20" fmla="*/ 110331 w 110331"/>
                    <a:gd name="connsiteY20" fmla="*/ 16392 h 142484"/>
                    <a:gd name="connsiteX21" fmla="*/ 92048 w 110331"/>
                    <a:gd name="connsiteY21" fmla="*/ 32784 h 142484"/>
                    <a:gd name="connsiteX22" fmla="*/ 76286 w 110331"/>
                    <a:gd name="connsiteY22" fmla="*/ 142485 h 142484"/>
                    <a:gd name="connsiteX23" fmla="*/ 76286 w 110331"/>
                    <a:gd name="connsiteY23" fmla="*/ 44132 h 142484"/>
                    <a:gd name="connsiteX24" fmla="*/ 108440 w 110331"/>
                    <a:gd name="connsiteY24" fmla="*/ 44132 h 142484"/>
                    <a:gd name="connsiteX25" fmla="*/ 108440 w 110331"/>
                    <a:gd name="connsiteY25" fmla="*/ 142485 h 142484"/>
                    <a:gd name="connsiteX26" fmla="*/ 76286 w 110331"/>
                    <a:gd name="connsiteY26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10331" h="142484">
                      <a:moveTo>
                        <a:pt x="56742" y="25219"/>
                      </a:moveTo>
                      <a:cubicBezTo>
                        <a:pt x="46024" y="25219"/>
                        <a:pt x="44763" y="32784"/>
                        <a:pt x="44763" y="40350"/>
                      </a:cubicBezTo>
                      <a:lnTo>
                        <a:pt x="44763" y="44132"/>
                      </a:lnTo>
                      <a:lnTo>
                        <a:pt x="66199" y="44132"/>
                      </a:lnTo>
                      <a:lnTo>
                        <a:pt x="66199" y="68090"/>
                      </a:lnTo>
                      <a:lnTo>
                        <a:pt x="44763" y="68090"/>
                      </a:lnTo>
                      <a:lnTo>
                        <a:pt x="44763" y="142485"/>
                      </a:lnTo>
                      <a:lnTo>
                        <a:pt x="12609" y="142485"/>
                      </a:lnTo>
                      <a:lnTo>
                        <a:pt x="12609" y="68090"/>
                      </a:lnTo>
                      <a:lnTo>
                        <a:pt x="0" y="68090"/>
                      </a:lnTo>
                      <a:lnTo>
                        <a:pt x="0" y="44132"/>
                      </a:lnTo>
                      <a:lnTo>
                        <a:pt x="12609" y="44132"/>
                      </a:lnTo>
                      <a:lnTo>
                        <a:pt x="12609" y="38458"/>
                      </a:lnTo>
                      <a:cubicBezTo>
                        <a:pt x="12609" y="14501"/>
                        <a:pt x="23958" y="1891"/>
                        <a:pt x="48546" y="1891"/>
                      </a:cubicBezTo>
                      <a:cubicBezTo>
                        <a:pt x="59264" y="1891"/>
                        <a:pt x="69351" y="4413"/>
                        <a:pt x="69351" y="4413"/>
                      </a:cubicBezTo>
                      <a:lnTo>
                        <a:pt x="67460" y="26479"/>
                      </a:lnTo>
                      <a:cubicBezTo>
                        <a:pt x="64307" y="25849"/>
                        <a:pt x="60525" y="25219"/>
                        <a:pt x="56742" y="25219"/>
                      </a:cubicBezTo>
                      <a:close/>
                      <a:moveTo>
                        <a:pt x="92048" y="32784"/>
                      </a:moveTo>
                      <a:cubicBezTo>
                        <a:pt x="81330" y="32784"/>
                        <a:pt x="73764" y="26479"/>
                        <a:pt x="73764" y="16392"/>
                      </a:cubicBezTo>
                      <a:cubicBezTo>
                        <a:pt x="73764" y="6305"/>
                        <a:pt x="81330" y="0"/>
                        <a:pt x="92048" y="0"/>
                      </a:cubicBezTo>
                      <a:cubicBezTo>
                        <a:pt x="102766" y="0"/>
                        <a:pt x="110331" y="6935"/>
                        <a:pt x="110331" y="16392"/>
                      </a:cubicBezTo>
                      <a:cubicBezTo>
                        <a:pt x="110331" y="25849"/>
                        <a:pt x="102766" y="32784"/>
                        <a:pt x="92048" y="32784"/>
                      </a:cubicBezTo>
                      <a:close/>
                      <a:moveTo>
                        <a:pt x="76286" y="142485"/>
                      </a:moveTo>
                      <a:lnTo>
                        <a:pt x="76286" y="44132"/>
                      </a:lnTo>
                      <a:lnTo>
                        <a:pt x="108440" y="44132"/>
                      </a:lnTo>
                      <a:lnTo>
                        <a:pt x="108440" y="142485"/>
                      </a:lnTo>
                      <a:lnTo>
                        <a:pt x="76286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5" name="Freihandform: Form 28">
                  <a:extLst>
                    <a:ext uri="{FF2B5EF4-FFF2-40B4-BE49-F238E27FC236}">
                      <a16:creationId xmlns:a16="http://schemas.microsoft.com/office/drawing/2014/main" id="{6A9E16A4-0BDE-3459-B362-4630F17546F0}"/>
                    </a:ext>
                  </a:extLst>
                </p:cNvPr>
                <p:cNvSpPr/>
                <p:nvPr/>
              </p:nvSpPr>
              <p:spPr>
                <a:xfrm>
                  <a:off x="5439691" y="3611720"/>
                  <a:ext cx="97091" cy="100243"/>
                </a:xfrm>
                <a:custGeom>
                  <a:avLst/>
                  <a:gdLst>
                    <a:gd name="connsiteX0" fmla="*/ 64938 w 97091"/>
                    <a:gd name="connsiteY0" fmla="*/ 99613 h 100243"/>
                    <a:gd name="connsiteX1" fmla="*/ 64938 w 97091"/>
                    <a:gd name="connsiteY1" fmla="*/ 48546 h 100243"/>
                    <a:gd name="connsiteX2" fmla="*/ 49807 w 97091"/>
                    <a:gd name="connsiteY2" fmla="*/ 25849 h 100243"/>
                    <a:gd name="connsiteX3" fmla="*/ 32154 w 97091"/>
                    <a:gd name="connsiteY3" fmla="*/ 51068 h 100243"/>
                    <a:gd name="connsiteX4" fmla="*/ 32154 w 97091"/>
                    <a:gd name="connsiteY4" fmla="*/ 99613 h 100243"/>
                    <a:gd name="connsiteX5" fmla="*/ 0 w 97091"/>
                    <a:gd name="connsiteY5" fmla="*/ 99613 h 100243"/>
                    <a:gd name="connsiteX6" fmla="*/ 0 w 97091"/>
                    <a:gd name="connsiteY6" fmla="*/ 1261 h 100243"/>
                    <a:gd name="connsiteX7" fmla="*/ 32154 w 97091"/>
                    <a:gd name="connsiteY7" fmla="*/ 1261 h 100243"/>
                    <a:gd name="connsiteX8" fmla="*/ 32154 w 97091"/>
                    <a:gd name="connsiteY8" fmla="*/ 15762 h 100243"/>
                    <a:gd name="connsiteX9" fmla="*/ 32784 w 97091"/>
                    <a:gd name="connsiteY9" fmla="*/ 15762 h 100243"/>
                    <a:gd name="connsiteX10" fmla="*/ 61155 w 97091"/>
                    <a:gd name="connsiteY10" fmla="*/ 0 h 100243"/>
                    <a:gd name="connsiteX11" fmla="*/ 97092 w 97091"/>
                    <a:gd name="connsiteY11" fmla="*/ 42241 h 100243"/>
                    <a:gd name="connsiteX12" fmla="*/ 97092 w 97091"/>
                    <a:gd name="connsiteY12" fmla="*/ 100244 h 100243"/>
                    <a:gd name="connsiteX13" fmla="*/ 64938 w 97091"/>
                    <a:gd name="connsiteY13" fmla="*/ 100244 h 100243"/>
                    <a:gd name="connsiteX14" fmla="*/ 64938 w 97091"/>
                    <a:gd name="connsiteY14" fmla="*/ 9961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00243">
                      <a:moveTo>
                        <a:pt x="64938" y="99613"/>
                      </a:moveTo>
                      <a:lnTo>
                        <a:pt x="64938" y="48546"/>
                      </a:lnTo>
                      <a:cubicBezTo>
                        <a:pt x="64938" y="35306"/>
                        <a:pt x="63046" y="25849"/>
                        <a:pt x="49807" y="25849"/>
                      </a:cubicBezTo>
                      <a:cubicBezTo>
                        <a:pt x="35937" y="25849"/>
                        <a:pt x="32154" y="37197"/>
                        <a:pt x="32154" y="51068"/>
                      </a:cubicBezTo>
                      <a:lnTo>
                        <a:pt x="32154" y="99613"/>
                      </a:lnTo>
                      <a:lnTo>
                        <a:pt x="0" y="99613"/>
                      </a:lnTo>
                      <a:lnTo>
                        <a:pt x="0" y="1261"/>
                      </a:lnTo>
                      <a:lnTo>
                        <a:pt x="32154" y="126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6935"/>
                        <a:pt x="47285" y="0"/>
                        <a:pt x="61155" y="0"/>
                      </a:cubicBezTo>
                      <a:cubicBezTo>
                        <a:pt x="89526" y="0"/>
                        <a:pt x="97092" y="18283"/>
                        <a:pt x="97092" y="42241"/>
                      </a:cubicBezTo>
                      <a:lnTo>
                        <a:pt x="97092" y="100244"/>
                      </a:lnTo>
                      <a:lnTo>
                        <a:pt x="64938" y="100244"/>
                      </a:lnTo>
                      <a:lnTo>
                        <a:pt x="64938" y="9961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6" name="Freihandform: Form 29">
                  <a:extLst>
                    <a:ext uri="{FF2B5EF4-FFF2-40B4-BE49-F238E27FC236}">
                      <a16:creationId xmlns:a16="http://schemas.microsoft.com/office/drawing/2014/main" id="{E0C5ACC0-C455-0995-B15F-F60462BCA4A3}"/>
                    </a:ext>
                  </a:extLst>
                </p:cNvPr>
                <p:cNvSpPr/>
                <p:nvPr/>
              </p:nvSpPr>
              <p:spPr>
                <a:xfrm>
                  <a:off x="5552544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7" name="Freihandform: Form 30">
                  <a:extLst>
                    <a:ext uri="{FF2B5EF4-FFF2-40B4-BE49-F238E27FC236}">
                      <a16:creationId xmlns:a16="http://schemas.microsoft.com/office/drawing/2014/main" id="{02DFF7FC-AA74-69E9-E33A-2CB457D67B24}"/>
                    </a:ext>
                  </a:extLst>
                </p:cNvPr>
                <p:cNvSpPr/>
                <p:nvPr/>
              </p:nvSpPr>
              <p:spPr>
                <a:xfrm>
                  <a:off x="5664136" y="3573892"/>
                  <a:ext cx="109700" cy="139332"/>
                </a:xfrm>
                <a:custGeom>
                  <a:avLst/>
                  <a:gdLst>
                    <a:gd name="connsiteX0" fmla="*/ 79439 w 109700"/>
                    <a:gd name="connsiteY0" fmla="*/ 137441 h 139332"/>
                    <a:gd name="connsiteX1" fmla="*/ 79439 w 109700"/>
                    <a:gd name="connsiteY1" fmla="*/ 124201 h 139332"/>
                    <a:gd name="connsiteX2" fmla="*/ 78808 w 109700"/>
                    <a:gd name="connsiteY2" fmla="*/ 124201 h 139332"/>
                    <a:gd name="connsiteX3" fmla="*/ 46654 w 109700"/>
                    <a:gd name="connsiteY3" fmla="*/ 139333 h 139332"/>
                    <a:gd name="connsiteX4" fmla="*/ 0 w 109700"/>
                    <a:gd name="connsiteY4" fmla="*/ 88265 h 139332"/>
                    <a:gd name="connsiteX5" fmla="*/ 46654 w 109700"/>
                    <a:gd name="connsiteY5" fmla="*/ 37197 h 139332"/>
                    <a:gd name="connsiteX6" fmla="*/ 77547 w 109700"/>
                    <a:gd name="connsiteY6" fmla="*/ 51068 h 139332"/>
                    <a:gd name="connsiteX7" fmla="*/ 77547 w 109700"/>
                    <a:gd name="connsiteY7" fmla="*/ 0 h 139332"/>
                    <a:gd name="connsiteX8" fmla="*/ 109701 w 109700"/>
                    <a:gd name="connsiteY8" fmla="*/ 0 h 139332"/>
                    <a:gd name="connsiteX9" fmla="*/ 109701 w 109700"/>
                    <a:gd name="connsiteY9" fmla="*/ 138072 h 139332"/>
                    <a:gd name="connsiteX10" fmla="*/ 79439 w 109700"/>
                    <a:gd name="connsiteY10" fmla="*/ 137441 h 139332"/>
                    <a:gd name="connsiteX11" fmla="*/ 79439 w 109700"/>
                    <a:gd name="connsiteY11" fmla="*/ 137441 h 139332"/>
                    <a:gd name="connsiteX12" fmla="*/ 56111 w 109700"/>
                    <a:gd name="connsiteY12" fmla="*/ 62416 h 139332"/>
                    <a:gd name="connsiteX13" fmla="*/ 32784 w 109700"/>
                    <a:gd name="connsiteY13" fmla="*/ 88265 h 139332"/>
                    <a:gd name="connsiteX14" fmla="*/ 56111 w 109700"/>
                    <a:gd name="connsiteY14" fmla="*/ 114114 h 139332"/>
                    <a:gd name="connsiteX15" fmla="*/ 78808 w 109700"/>
                    <a:gd name="connsiteY15" fmla="*/ 88265 h 139332"/>
                    <a:gd name="connsiteX16" fmla="*/ 56111 w 109700"/>
                    <a:gd name="connsiteY16" fmla="*/ 62416 h 139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09700" h="139332">
                      <a:moveTo>
                        <a:pt x="79439" y="137441"/>
                      </a:moveTo>
                      <a:lnTo>
                        <a:pt x="79439" y="124201"/>
                      </a:lnTo>
                      <a:lnTo>
                        <a:pt x="78808" y="124201"/>
                      </a:lnTo>
                      <a:cubicBezTo>
                        <a:pt x="71243" y="134289"/>
                        <a:pt x="59894" y="139333"/>
                        <a:pt x="46654" y="139333"/>
                      </a:cubicBezTo>
                      <a:cubicBezTo>
                        <a:pt x="18283" y="139333"/>
                        <a:pt x="0" y="116636"/>
                        <a:pt x="0" y="88265"/>
                      </a:cubicBezTo>
                      <a:cubicBezTo>
                        <a:pt x="0" y="59894"/>
                        <a:pt x="18283" y="37197"/>
                        <a:pt x="46654" y="37197"/>
                      </a:cubicBezTo>
                      <a:cubicBezTo>
                        <a:pt x="64938" y="37197"/>
                        <a:pt x="74395" y="46024"/>
                        <a:pt x="77547" y="51068"/>
                      </a:cubicBezTo>
                      <a:lnTo>
                        <a:pt x="77547" y="0"/>
                      </a:lnTo>
                      <a:lnTo>
                        <a:pt x="109701" y="0"/>
                      </a:lnTo>
                      <a:lnTo>
                        <a:pt x="109701" y="138072"/>
                      </a:lnTo>
                      <a:lnTo>
                        <a:pt x="79439" y="137441"/>
                      </a:lnTo>
                      <a:lnTo>
                        <a:pt x="79439" y="137441"/>
                      </a:lnTo>
                      <a:close/>
                      <a:moveTo>
                        <a:pt x="56111" y="62416"/>
                      </a:moveTo>
                      <a:cubicBezTo>
                        <a:pt x="42241" y="62416"/>
                        <a:pt x="32784" y="72503"/>
                        <a:pt x="32784" y="88265"/>
                      </a:cubicBezTo>
                      <a:cubicBezTo>
                        <a:pt x="32784" y="103396"/>
                        <a:pt x="42241" y="114114"/>
                        <a:pt x="56111" y="114114"/>
                      </a:cubicBezTo>
                      <a:cubicBezTo>
                        <a:pt x="69982" y="114114"/>
                        <a:pt x="78808" y="104027"/>
                        <a:pt x="78808" y="88265"/>
                      </a:cubicBezTo>
                      <a:cubicBezTo>
                        <a:pt x="78808" y="73134"/>
                        <a:pt x="69351" y="62416"/>
                        <a:pt x="56111" y="62416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8" name="Freihandform: Form 31">
                  <a:extLst>
                    <a:ext uri="{FF2B5EF4-FFF2-40B4-BE49-F238E27FC236}">
                      <a16:creationId xmlns:a16="http://schemas.microsoft.com/office/drawing/2014/main" id="{32AD1E21-3BBD-F562-22E6-0D6A2F6ED0B3}"/>
                    </a:ext>
                  </a:extLst>
                </p:cNvPr>
                <p:cNvSpPr/>
                <p:nvPr/>
              </p:nvSpPr>
              <p:spPr>
                <a:xfrm>
                  <a:off x="5823644" y="3573262"/>
                  <a:ext cx="133027" cy="138071"/>
                </a:xfrm>
                <a:custGeom>
                  <a:avLst/>
                  <a:gdLst>
                    <a:gd name="connsiteX0" fmla="*/ 81960 w 133027"/>
                    <a:gd name="connsiteY0" fmla="*/ 138072 h 138071"/>
                    <a:gd name="connsiteX1" fmla="*/ 51067 w 133027"/>
                    <a:gd name="connsiteY1" fmla="*/ 138072 h 138071"/>
                    <a:gd name="connsiteX2" fmla="*/ 0 w 133027"/>
                    <a:gd name="connsiteY2" fmla="*/ 0 h 138071"/>
                    <a:gd name="connsiteX3" fmla="*/ 34676 w 133027"/>
                    <a:gd name="connsiteY3" fmla="*/ 0 h 138071"/>
                    <a:gd name="connsiteX4" fmla="*/ 66829 w 133027"/>
                    <a:gd name="connsiteY4" fmla="*/ 95200 h 138071"/>
                    <a:gd name="connsiteX5" fmla="*/ 98983 w 133027"/>
                    <a:gd name="connsiteY5" fmla="*/ 0 h 138071"/>
                    <a:gd name="connsiteX6" fmla="*/ 133028 w 133027"/>
                    <a:gd name="connsiteY6" fmla="*/ 0 h 138071"/>
                    <a:gd name="connsiteX7" fmla="*/ 81960 w 133027"/>
                    <a:gd name="connsiteY7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3027" h="138071">
                      <a:moveTo>
                        <a:pt x="81960" y="138072"/>
                      </a:moveTo>
                      <a:lnTo>
                        <a:pt x="51067" y="138072"/>
                      </a:lnTo>
                      <a:lnTo>
                        <a:pt x="0" y="0"/>
                      </a:lnTo>
                      <a:lnTo>
                        <a:pt x="34676" y="0"/>
                      </a:lnTo>
                      <a:lnTo>
                        <a:pt x="66829" y="95200"/>
                      </a:lnTo>
                      <a:lnTo>
                        <a:pt x="98983" y="0"/>
                      </a:lnTo>
                      <a:lnTo>
                        <a:pt x="133028" y="0"/>
                      </a:lnTo>
                      <a:lnTo>
                        <a:pt x="8196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9" name="Freihandform: Form 32">
                  <a:extLst>
                    <a:ext uri="{FF2B5EF4-FFF2-40B4-BE49-F238E27FC236}">
                      <a16:creationId xmlns:a16="http://schemas.microsoft.com/office/drawing/2014/main" id="{01B279BD-A88E-5C9F-BC0B-7DC817D62C58}"/>
                    </a:ext>
                  </a:extLst>
                </p:cNvPr>
                <p:cNvSpPr/>
                <p:nvPr/>
              </p:nvSpPr>
              <p:spPr>
                <a:xfrm>
                  <a:off x="595856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0" name="Freihandform: Form 33">
                  <a:extLst>
                    <a:ext uri="{FF2B5EF4-FFF2-40B4-BE49-F238E27FC236}">
                      <a16:creationId xmlns:a16="http://schemas.microsoft.com/office/drawing/2014/main" id="{80673F7B-C1CD-B70C-1F2A-1AE7A84BEC03}"/>
                    </a:ext>
                  </a:extLst>
                </p:cNvPr>
                <p:cNvSpPr/>
                <p:nvPr/>
              </p:nvSpPr>
              <p:spPr>
                <a:xfrm>
                  <a:off x="6075829" y="3573262"/>
                  <a:ext cx="97091" cy="138071"/>
                </a:xfrm>
                <a:custGeom>
                  <a:avLst/>
                  <a:gdLst>
                    <a:gd name="connsiteX0" fmla="*/ 64938 w 97091"/>
                    <a:gd name="connsiteY0" fmla="*/ 138072 h 138071"/>
                    <a:gd name="connsiteX1" fmla="*/ 64938 w 97091"/>
                    <a:gd name="connsiteY1" fmla="*/ 86374 h 138071"/>
                    <a:gd name="connsiteX2" fmla="*/ 49807 w 97091"/>
                    <a:gd name="connsiteY2" fmla="*/ 63677 h 138071"/>
                    <a:gd name="connsiteX3" fmla="*/ 32154 w 97091"/>
                    <a:gd name="connsiteY3" fmla="*/ 89526 h 138071"/>
                    <a:gd name="connsiteX4" fmla="*/ 32154 w 97091"/>
                    <a:gd name="connsiteY4" fmla="*/ 138072 h 138071"/>
                    <a:gd name="connsiteX5" fmla="*/ 0 w 97091"/>
                    <a:gd name="connsiteY5" fmla="*/ 138072 h 138071"/>
                    <a:gd name="connsiteX6" fmla="*/ 0 w 97091"/>
                    <a:gd name="connsiteY6" fmla="*/ 0 h 138071"/>
                    <a:gd name="connsiteX7" fmla="*/ 32154 w 97091"/>
                    <a:gd name="connsiteY7" fmla="*/ 0 h 138071"/>
                    <a:gd name="connsiteX8" fmla="*/ 32154 w 97091"/>
                    <a:gd name="connsiteY8" fmla="*/ 32784 h 138071"/>
                    <a:gd name="connsiteX9" fmla="*/ 32154 w 97091"/>
                    <a:gd name="connsiteY9" fmla="*/ 53589 h 138071"/>
                    <a:gd name="connsiteX10" fmla="*/ 61155 w 97091"/>
                    <a:gd name="connsiteY10" fmla="*/ 37828 h 138071"/>
                    <a:gd name="connsiteX11" fmla="*/ 97091 w 97091"/>
                    <a:gd name="connsiteY11" fmla="*/ 80069 h 138071"/>
                    <a:gd name="connsiteX12" fmla="*/ 97091 w 97091"/>
                    <a:gd name="connsiteY12" fmla="*/ 138072 h 138071"/>
                    <a:gd name="connsiteX13" fmla="*/ 64938 w 97091"/>
                    <a:gd name="connsiteY13" fmla="*/ 138072 h 138071"/>
                    <a:gd name="connsiteX14" fmla="*/ 64938 w 97091"/>
                    <a:gd name="connsiteY1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38071">
                      <a:moveTo>
                        <a:pt x="64938" y="138072"/>
                      </a:moveTo>
                      <a:lnTo>
                        <a:pt x="64938" y="86374"/>
                      </a:lnTo>
                      <a:cubicBezTo>
                        <a:pt x="64938" y="74395"/>
                        <a:pt x="63046" y="63677"/>
                        <a:pt x="49807" y="63677"/>
                      </a:cubicBezTo>
                      <a:cubicBezTo>
                        <a:pt x="36567" y="63677"/>
                        <a:pt x="32154" y="75025"/>
                        <a:pt x="32154" y="89526"/>
                      </a:cubicBezTo>
                      <a:lnTo>
                        <a:pt x="32154" y="138072"/>
                      </a:ln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32784"/>
                      </a:lnTo>
                      <a:cubicBezTo>
                        <a:pt x="32154" y="42872"/>
                        <a:pt x="32154" y="53589"/>
                        <a:pt x="32154" y="53589"/>
                      </a:cubicBezTo>
                      <a:cubicBezTo>
                        <a:pt x="37197" y="44763"/>
                        <a:pt x="46654" y="37828"/>
                        <a:pt x="61155" y="37828"/>
                      </a:cubicBezTo>
                      <a:cubicBezTo>
                        <a:pt x="89526" y="37828"/>
                        <a:pt x="97091" y="56111"/>
                        <a:pt x="97091" y="80069"/>
                      </a:cubicBezTo>
                      <a:lnTo>
                        <a:pt x="97091" y="138072"/>
                      </a:lnTo>
                      <a:lnTo>
                        <a:pt x="64938" y="138072"/>
                      </a:lnTo>
                      <a:lnTo>
                        <a:pt x="64938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1" name="Freihandform: Form 34">
                  <a:extLst>
                    <a:ext uri="{FF2B5EF4-FFF2-40B4-BE49-F238E27FC236}">
                      <a16:creationId xmlns:a16="http://schemas.microsoft.com/office/drawing/2014/main" id="{315AAE1A-38B4-922D-E8A4-48655D87109A}"/>
                    </a:ext>
                  </a:extLst>
                </p:cNvPr>
                <p:cNvSpPr/>
                <p:nvPr/>
              </p:nvSpPr>
              <p:spPr>
                <a:xfrm>
                  <a:off x="6191204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2" name="Freihandform: Form 35">
                  <a:extLst>
                    <a:ext uri="{FF2B5EF4-FFF2-40B4-BE49-F238E27FC236}">
                      <a16:creationId xmlns:a16="http://schemas.microsoft.com/office/drawing/2014/main" id="{9EDDDF7A-64B0-D9F0-A06D-38BC468954E5}"/>
                    </a:ext>
                  </a:extLst>
                </p:cNvPr>
                <p:cNvSpPr/>
                <p:nvPr/>
              </p:nvSpPr>
              <p:spPr>
                <a:xfrm>
                  <a:off x="6241641" y="3611720"/>
                  <a:ext cx="89526" cy="102135"/>
                </a:xfrm>
                <a:custGeom>
                  <a:avLst/>
                  <a:gdLst>
                    <a:gd name="connsiteX0" fmla="*/ 51698 w 89526"/>
                    <a:gd name="connsiteY0" fmla="*/ 102135 h 102135"/>
                    <a:gd name="connsiteX1" fmla="*/ 0 w 89526"/>
                    <a:gd name="connsiteY1" fmla="*/ 51068 h 102135"/>
                    <a:gd name="connsiteX2" fmla="*/ 52328 w 89526"/>
                    <a:gd name="connsiteY2" fmla="*/ 0 h 102135"/>
                    <a:gd name="connsiteX3" fmla="*/ 88895 w 89526"/>
                    <a:gd name="connsiteY3" fmla="*/ 10087 h 102135"/>
                    <a:gd name="connsiteX4" fmla="*/ 81960 w 89526"/>
                    <a:gd name="connsiteY4" fmla="*/ 34045 h 102135"/>
                    <a:gd name="connsiteX5" fmla="*/ 56742 w 89526"/>
                    <a:gd name="connsiteY5" fmla="*/ 25219 h 102135"/>
                    <a:gd name="connsiteX6" fmla="*/ 32154 w 89526"/>
                    <a:gd name="connsiteY6" fmla="*/ 50437 h 102135"/>
                    <a:gd name="connsiteX7" fmla="*/ 56742 w 89526"/>
                    <a:gd name="connsiteY7" fmla="*/ 75656 h 102135"/>
                    <a:gd name="connsiteX8" fmla="*/ 81960 w 89526"/>
                    <a:gd name="connsiteY8" fmla="*/ 66199 h 102135"/>
                    <a:gd name="connsiteX9" fmla="*/ 89526 w 89526"/>
                    <a:gd name="connsiteY9" fmla="*/ 90156 h 102135"/>
                    <a:gd name="connsiteX10" fmla="*/ 51698 w 89526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6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8" y="0"/>
                      </a:cubicBezTo>
                      <a:cubicBezTo>
                        <a:pt x="77547" y="0"/>
                        <a:pt x="88895" y="10087"/>
                        <a:pt x="88895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1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242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3" name="Freihandform: Form 36">
                  <a:extLst>
                    <a:ext uri="{FF2B5EF4-FFF2-40B4-BE49-F238E27FC236}">
                      <a16:creationId xmlns:a16="http://schemas.microsoft.com/office/drawing/2014/main" id="{2DAB6FF7-9D0F-AA5F-14F4-2E2143394348}"/>
                    </a:ext>
                  </a:extLst>
                </p:cNvPr>
                <p:cNvSpPr/>
                <p:nvPr/>
              </p:nvSpPr>
              <p:spPr>
                <a:xfrm>
                  <a:off x="6344407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4" name="Freihandform: Form 37">
                  <a:extLst>
                    <a:ext uri="{FF2B5EF4-FFF2-40B4-BE49-F238E27FC236}">
                      <a16:creationId xmlns:a16="http://schemas.microsoft.com/office/drawing/2014/main" id="{D6BCC00F-32F6-6584-37B1-CE6B1CBE4BF6}"/>
                    </a:ext>
                  </a:extLst>
                </p:cNvPr>
                <p:cNvSpPr/>
                <p:nvPr/>
              </p:nvSpPr>
              <p:spPr>
                <a:xfrm>
                  <a:off x="639295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</p:grpSp>
        <p:sp>
          <p:nvSpPr>
            <p:cNvPr id="10" name="Freihandform: Form 3">
              <a:extLst>
                <a:ext uri="{FF2B5EF4-FFF2-40B4-BE49-F238E27FC236}">
                  <a16:creationId xmlns:a16="http://schemas.microsoft.com/office/drawing/2014/main" id="{9DFAF601-1940-7C42-DBE5-B6A6CC300649}"/>
                </a:ext>
              </a:extLst>
            </p:cNvPr>
            <p:cNvSpPr/>
            <p:nvPr/>
          </p:nvSpPr>
          <p:spPr>
            <a:xfrm>
              <a:off x="6873367" y="2704482"/>
              <a:ext cx="277404" cy="201748"/>
            </a:xfrm>
            <a:custGeom>
              <a:avLst/>
              <a:gdLst>
                <a:gd name="connsiteX0" fmla="*/ 0 w 277404"/>
                <a:gd name="connsiteY0" fmla="*/ 0 h 201748"/>
                <a:gd name="connsiteX1" fmla="*/ 277404 w 277404"/>
                <a:gd name="connsiteY1" fmla="*/ 0 h 201748"/>
                <a:gd name="connsiteX2" fmla="*/ 277404 w 277404"/>
                <a:gd name="connsiteY2" fmla="*/ 201749 h 201748"/>
                <a:gd name="connsiteX3" fmla="*/ 0 w 277404"/>
                <a:gd name="connsiteY3" fmla="*/ 201749 h 201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404" h="201748">
                  <a:moveTo>
                    <a:pt x="0" y="0"/>
                  </a:moveTo>
                  <a:lnTo>
                    <a:pt x="277404" y="0"/>
                  </a:lnTo>
                  <a:lnTo>
                    <a:pt x="277404" y="201749"/>
                  </a:lnTo>
                  <a:lnTo>
                    <a:pt x="0" y="201749"/>
                  </a:lnTo>
                  <a:close/>
                </a:path>
              </a:pathLst>
            </a:custGeom>
            <a:noFill/>
            <a:ln w="630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/>
            </a:p>
          </p:txBody>
        </p:sp>
        <p:grpSp>
          <p:nvGrpSpPr>
            <p:cNvPr id="11" name="Grafik 4">
              <a:extLst>
                <a:ext uri="{FF2B5EF4-FFF2-40B4-BE49-F238E27FC236}">
                  <a16:creationId xmlns:a16="http://schemas.microsoft.com/office/drawing/2014/main" id="{5515750A-935B-56BC-811D-AD595B09CC65}"/>
                </a:ext>
              </a:extLst>
            </p:cNvPr>
            <p:cNvGrpSpPr/>
            <p:nvPr/>
          </p:nvGrpSpPr>
          <p:grpSpPr>
            <a:xfrm>
              <a:off x="6874628" y="2706531"/>
              <a:ext cx="100243" cy="45866"/>
              <a:chOff x="6874628" y="2706531"/>
              <a:chExt cx="100243" cy="45866"/>
            </a:xfrm>
            <a:solidFill>
              <a:schemeClr val="bg1"/>
            </a:solidFill>
          </p:grpSpPr>
          <p:sp>
            <p:nvSpPr>
              <p:cNvPr id="12" name="Freihandform: Form 5">
                <a:extLst>
                  <a:ext uri="{FF2B5EF4-FFF2-40B4-BE49-F238E27FC236}">
                    <a16:creationId xmlns:a16="http://schemas.microsoft.com/office/drawing/2014/main" id="{52889567-F0E2-9480-1A14-210011243E21}"/>
                  </a:ext>
                </a:extLst>
              </p:cNvPr>
              <p:cNvSpPr/>
              <p:nvPr/>
            </p:nvSpPr>
            <p:spPr>
              <a:xfrm>
                <a:off x="6874628" y="2707634"/>
                <a:ext cx="43501" cy="44132"/>
              </a:xfrm>
              <a:custGeom>
                <a:avLst/>
                <a:gdLst>
                  <a:gd name="connsiteX0" fmla="*/ 43502 w 43501"/>
                  <a:gd name="connsiteY0" fmla="*/ 8196 h 44132"/>
                  <a:gd name="connsiteX1" fmla="*/ 25849 w 43501"/>
                  <a:gd name="connsiteY1" fmla="*/ 8196 h 44132"/>
                  <a:gd name="connsiteX2" fmla="*/ 25849 w 43501"/>
                  <a:gd name="connsiteY2" fmla="*/ 44132 h 44132"/>
                  <a:gd name="connsiteX3" fmla="*/ 17653 w 43501"/>
                  <a:gd name="connsiteY3" fmla="*/ 44132 h 44132"/>
                  <a:gd name="connsiteX4" fmla="*/ 17653 w 43501"/>
                  <a:gd name="connsiteY4" fmla="*/ 8196 h 44132"/>
                  <a:gd name="connsiteX5" fmla="*/ 0 w 43501"/>
                  <a:gd name="connsiteY5" fmla="*/ 8196 h 44132"/>
                  <a:gd name="connsiteX6" fmla="*/ 0 w 43501"/>
                  <a:gd name="connsiteY6" fmla="*/ 0 h 44132"/>
                  <a:gd name="connsiteX7" fmla="*/ 43502 w 43501"/>
                  <a:gd name="connsiteY7" fmla="*/ 0 h 44132"/>
                  <a:gd name="connsiteX8" fmla="*/ 43502 w 43501"/>
                  <a:gd name="connsiteY8" fmla="*/ 8196 h 4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501" h="44132">
                    <a:moveTo>
                      <a:pt x="43502" y="8196"/>
                    </a:moveTo>
                    <a:lnTo>
                      <a:pt x="25849" y="8196"/>
                    </a:lnTo>
                    <a:lnTo>
                      <a:pt x="25849" y="44132"/>
                    </a:lnTo>
                    <a:lnTo>
                      <a:pt x="17653" y="44132"/>
                    </a:lnTo>
                    <a:lnTo>
                      <a:pt x="17653" y="8196"/>
                    </a:lnTo>
                    <a:lnTo>
                      <a:pt x="0" y="8196"/>
                    </a:lnTo>
                    <a:lnTo>
                      <a:pt x="0" y="0"/>
                    </a:lnTo>
                    <a:lnTo>
                      <a:pt x="43502" y="0"/>
                    </a:lnTo>
                    <a:lnTo>
                      <a:pt x="43502" y="819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3" name="Freihandform: Form 6">
                <a:extLst>
                  <a:ext uri="{FF2B5EF4-FFF2-40B4-BE49-F238E27FC236}">
                    <a16:creationId xmlns:a16="http://schemas.microsoft.com/office/drawing/2014/main" id="{AFC440E8-43B5-E25C-41F5-E832087C5A4C}"/>
                  </a:ext>
                </a:extLst>
              </p:cNvPr>
              <p:cNvSpPr/>
              <p:nvPr/>
            </p:nvSpPr>
            <p:spPr>
              <a:xfrm>
                <a:off x="6923173" y="2706531"/>
                <a:ext cx="51698" cy="45866"/>
              </a:xfrm>
              <a:custGeom>
                <a:avLst/>
                <a:gdLst>
                  <a:gd name="connsiteX0" fmla="*/ 51698 w 51698"/>
                  <a:gd name="connsiteY0" fmla="*/ 45236 h 45866"/>
                  <a:gd name="connsiteX1" fmla="*/ 43502 w 51698"/>
                  <a:gd name="connsiteY1" fmla="*/ 45236 h 45866"/>
                  <a:gd name="connsiteX2" fmla="*/ 43502 w 51698"/>
                  <a:gd name="connsiteY2" fmla="*/ 18756 h 45866"/>
                  <a:gd name="connsiteX3" fmla="*/ 29002 w 51698"/>
                  <a:gd name="connsiteY3" fmla="*/ 43975 h 45866"/>
                  <a:gd name="connsiteX4" fmla="*/ 27741 w 51698"/>
                  <a:gd name="connsiteY4" fmla="*/ 45236 h 45866"/>
                  <a:gd name="connsiteX5" fmla="*/ 25849 w 51698"/>
                  <a:gd name="connsiteY5" fmla="*/ 45866 h 45866"/>
                  <a:gd name="connsiteX6" fmla="*/ 23958 w 51698"/>
                  <a:gd name="connsiteY6" fmla="*/ 45236 h 45866"/>
                  <a:gd name="connsiteX7" fmla="*/ 22697 w 51698"/>
                  <a:gd name="connsiteY7" fmla="*/ 43975 h 45866"/>
                  <a:gd name="connsiteX8" fmla="*/ 8196 w 51698"/>
                  <a:gd name="connsiteY8" fmla="*/ 18756 h 45866"/>
                  <a:gd name="connsiteX9" fmla="*/ 8196 w 51698"/>
                  <a:gd name="connsiteY9" fmla="*/ 45236 h 45866"/>
                  <a:gd name="connsiteX10" fmla="*/ 0 w 51698"/>
                  <a:gd name="connsiteY10" fmla="*/ 45236 h 45866"/>
                  <a:gd name="connsiteX11" fmla="*/ 0 w 51698"/>
                  <a:gd name="connsiteY11" fmla="*/ 4256 h 45866"/>
                  <a:gd name="connsiteX12" fmla="*/ 631 w 51698"/>
                  <a:gd name="connsiteY12" fmla="*/ 1734 h 45866"/>
                  <a:gd name="connsiteX13" fmla="*/ 2522 w 51698"/>
                  <a:gd name="connsiteY13" fmla="*/ 473 h 45866"/>
                  <a:gd name="connsiteX14" fmla="*/ 3783 w 51698"/>
                  <a:gd name="connsiteY14" fmla="*/ 473 h 45866"/>
                  <a:gd name="connsiteX15" fmla="*/ 5044 w 51698"/>
                  <a:gd name="connsiteY15" fmla="*/ 473 h 45866"/>
                  <a:gd name="connsiteX16" fmla="*/ 6305 w 51698"/>
                  <a:gd name="connsiteY16" fmla="*/ 1103 h 45866"/>
                  <a:gd name="connsiteX17" fmla="*/ 6935 w 51698"/>
                  <a:gd name="connsiteY17" fmla="*/ 2364 h 45866"/>
                  <a:gd name="connsiteX18" fmla="*/ 25219 w 51698"/>
                  <a:gd name="connsiteY18" fmla="*/ 33887 h 45866"/>
                  <a:gd name="connsiteX19" fmla="*/ 43502 w 51698"/>
                  <a:gd name="connsiteY19" fmla="*/ 2364 h 45866"/>
                  <a:gd name="connsiteX20" fmla="*/ 45394 w 51698"/>
                  <a:gd name="connsiteY20" fmla="*/ 473 h 45866"/>
                  <a:gd name="connsiteX21" fmla="*/ 47916 w 51698"/>
                  <a:gd name="connsiteY21" fmla="*/ 473 h 45866"/>
                  <a:gd name="connsiteX22" fmla="*/ 49807 w 51698"/>
                  <a:gd name="connsiteY22" fmla="*/ 1734 h 45866"/>
                  <a:gd name="connsiteX23" fmla="*/ 50437 w 51698"/>
                  <a:gd name="connsiteY23" fmla="*/ 4256 h 45866"/>
                  <a:gd name="connsiteX24" fmla="*/ 50437 w 51698"/>
                  <a:gd name="connsiteY24" fmla="*/ 45236 h 4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1698" h="45866">
                    <a:moveTo>
                      <a:pt x="51698" y="45236"/>
                    </a:moveTo>
                    <a:lnTo>
                      <a:pt x="43502" y="45236"/>
                    </a:lnTo>
                    <a:lnTo>
                      <a:pt x="43502" y="18756"/>
                    </a:lnTo>
                    <a:lnTo>
                      <a:pt x="29002" y="43975"/>
                    </a:lnTo>
                    <a:cubicBezTo>
                      <a:pt x="28371" y="44605"/>
                      <a:pt x="28371" y="45236"/>
                      <a:pt x="27741" y="45236"/>
                    </a:cubicBezTo>
                    <a:cubicBezTo>
                      <a:pt x="27110" y="45866"/>
                      <a:pt x="26480" y="45866"/>
                      <a:pt x="25849" y="45866"/>
                    </a:cubicBezTo>
                    <a:cubicBezTo>
                      <a:pt x="25219" y="45866"/>
                      <a:pt x="24588" y="45866"/>
                      <a:pt x="23958" y="45236"/>
                    </a:cubicBezTo>
                    <a:cubicBezTo>
                      <a:pt x="23327" y="44605"/>
                      <a:pt x="22697" y="44605"/>
                      <a:pt x="22697" y="43975"/>
                    </a:cubicBezTo>
                    <a:lnTo>
                      <a:pt x="8196" y="18756"/>
                    </a:lnTo>
                    <a:lnTo>
                      <a:pt x="8196" y="45236"/>
                    </a:lnTo>
                    <a:lnTo>
                      <a:pt x="0" y="45236"/>
                    </a:lnTo>
                    <a:lnTo>
                      <a:pt x="0" y="4256"/>
                    </a:lnTo>
                    <a:cubicBezTo>
                      <a:pt x="0" y="3625"/>
                      <a:pt x="0" y="2364"/>
                      <a:pt x="631" y="1734"/>
                    </a:cubicBezTo>
                    <a:cubicBezTo>
                      <a:pt x="1261" y="1103"/>
                      <a:pt x="1892" y="473"/>
                      <a:pt x="2522" y="473"/>
                    </a:cubicBezTo>
                    <a:cubicBezTo>
                      <a:pt x="3152" y="473"/>
                      <a:pt x="3152" y="473"/>
                      <a:pt x="3783" y="473"/>
                    </a:cubicBezTo>
                    <a:cubicBezTo>
                      <a:pt x="4413" y="473"/>
                      <a:pt x="4413" y="473"/>
                      <a:pt x="5044" y="473"/>
                    </a:cubicBezTo>
                    <a:cubicBezTo>
                      <a:pt x="5674" y="473"/>
                      <a:pt x="5674" y="1103"/>
                      <a:pt x="6305" y="1103"/>
                    </a:cubicBezTo>
                    <a:cubicBezTo>
                      <a:pt x="6935" y="1103"/>
                      <a:pt x="6935" y="1734"/>
                      <a:pt x="6935" y="2364"/>
                    </a:cubicBezTo>
                    <a:lnTo>
                      <a:pt x="25219" y="33887"/>
                    </a:lnTo>
                    <a:lnTo>
                      <a:pt x="43502" y="2364"/>
                    </a:lnTo>
                    <a:cubicBezTo>
                      <a:pt x="44133" y="1734"/>
                      <a:pt x="44763" y="1103"/>
                      <a:pt x="45394" y="473"/>
                    </a:cubicBezTo>
                    <a:cubicBezTo>
                      <a:pt x="46024" y="-158"/>
                      <a:pt x="47285" y="-158"/>
                      <a:pt x="47916" y="473"/>
                    </a:cubicBezTo>
                    <a:cubicBezTo>
                      <a:pt x="48546" y="473"/>
                      <a:pt x="49177" y="1103"/>
                      <a:pt x="49807" y="1734"/>
                    </a:cubicBezTo>
                    <a:cubicBezTo>
                      <a:pt x="50437" y="2364"/>
                      <a:pt x="50437" y="2995"/>
                      <a:pt x="50437" y="4256"/>
                    </a:cubicBezTo>
                    <a:lnTo>
                      <a:pt x="50437" y="4523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</p:grpSp>
      <p:grpSp>
        <p:nvGrpSpPr>
          <p:cNvPr id="4" name="Grafik 49">
            <a:extLst>
              <a:ext uri="{FF2B5EF4-FFF2-40B4-BE49-F238E27FC236}">
                <a16:creationId xmlns:a16="http://schemas.microsoft.com/office/drawing/2014/main" id="{5FB7689D-627F-6795-DACD-DB7788959CC8}"/>
              </a:ext>
            </a:extLst>
          </p:cNvPr>
          <p:cNvGrpSpPr/>
          <p:nvPr/>
        </p:nvGrpSpPr>
        <p:grpSpPr>
          <a:xfrm>
            <a:off x="7416428" y="5079361"/>
            <a:ext cx="1652036" cy="535165"/>
            <a:chOff x="4756259" y="2993991"/>
            <a:chExt cx="2679527" cy="868014"/>
          </a:xfrm>
          <a:solidFill>
            <a:schemeClr val="bg1"/>
          </a:solidFill>
        </p:grpSpPr>
        <p:sp>
          <p:nvSpPr>
            <p:cNvPr id="5" name="Freihandform: Form 44">
              <a:extLst>
                <a:ext uri="{FF2B5EF4-FFF2-40B4-BE49-F238E27FC236}">
                  <a16:creationId xmlns:a16="http://schemas.microsoft.com/office/drawing/2014/main" id="{AFB8FB29-3C99-1599-F94F-AFF6CB55FA2B}"/>
                </a:ext>
              </a:extLst>
            </p:cNvPr>
            <p:cNvSpPr/>
            <p:nvPr/>
          </p:nvSpPr>
          <p:spPr>
            <a:xfrm>
              <a:off x="4967287" y="3686079"/>
              <a:ext cx="2351722" cy="175926"/>
            </a:xfrm>
            <a:custGeom>
              <a:avLst/>
              <a:gdLst>
                <a:gd name="connsiteX0" fmla="*/ 2319909 w 2351722"/>
                <a:gd name="connsiteY0" fmla="*/ 107728 h 175926"/>
                <a:gd name="connsiteX1" fmla="*/ 2237328 w 2351722"/>
                <a:gd name="connsiteY1" fmla="*/ 2953 h 175926"/>
                <a:gd name="connsiteX2" fmla="*/ 2211515 w 2351722"/>
                <a:gd name="connsiteY2" fmla="*/ 2953 h 175926"/>
                <a:gd name="connsiteX3" fmla="*/ 2211515 w 2351722"/>
                <a:gd name="connsiteY3" fmla="*/ 171545 h 175926"/>
                <a:gd name="connsiteX4" fmla="*/ 2243328 w 2351722"/>
                <a:gd name="connsiteY4" fmla="*/ 171545 h 175926"/>
                <a:gd name="connsiteX5" fmla="*/ 2243328 w 2351722"/>
                <a:gd name="connsiteY5" fmla="*/ 57245 h 175926"/>
                <a:gd name="connsiteX6" fmla="*/ 2332006 w 2351722"/>
                <a:gd name="connsiteY6" fmla="*/ 171545 h 175926"/>
                <a:gd name="connsiteX7" fmla="*/ 2351723 w 2351722"/>
                <a:gd name="connsiteY7" fmla="*/ 171545 h 175926"/>
                <a:gd name="connsiteX8" fmla="*/ 2351723 w 2351722"/>
                <a:gd name="connsiteY8" fmla="*/ 3048 h 175926"/>
                <a:gd name="connsiteX9" fmla="*/ 2319909 w 2351722"/>
                <a:gd name="connsiteY9" fmla="*/ 3048 h 175926"/>
                <a:gd name="connsiteX10" fmla="*/ 2319909 w 2351722"/>
                <a:gd name="connsiteY10" fmla="*/ 107728 h 175926"/>
                <a:gd name="connsiteX11" fmla="*/ 2011204 w 2351722"/>
                <a:gd name="connsiteY11" fmla="*/ 28670 h 175926"/>
                <a:gd name="connsiteX12" fmla="*/ 2066354 w 2351722"/>
                <a:gd name="connsiteY12" fmla="*/ 88964 h 175926"/>
                <a:gd name="connsiteX13" fmla="*/ 2011204 w 2351722"/>
                <a:gd name="connsiteY13" fmla="*/ 146114 h 175926"/>
                <a:gd name="connsiteX14" fmla="*/ 1955864 w 2351722"/>
                <a:gd name="connsiteY14" fmla="*/ 88964 h 175926"/>
                <a:gd name="connsiteX15" fmla="*/ 2011204 w 2351722"/>
                <a:gd name="connsiteY15" fmla="*/ 28670 h 175926"/>
                <a:gd name="connsiteX16" fmla="*/ 2011204 w 2351722"/>
                <a:gd name="connsiteY16" fmla="*/ 28670 h 175926"/>
                <a:gd name="connsiteX17" fmla="*/ 2011204 w 2351722"/>
                <a:gd name="connsiteY17" fmla="*/ 95 h 175926"/>
                <a:gd name="connsiteX18" fmla="*/ 1924526 w 2351722"/>
                <a:gd name="connsiteY18" fmla="*/ 88964 h 175926"/>
                <a:gd name="connsiteX19" fmla="*/ 2011204 w 2351722"/>
                <a:gd name="connsiteY19" fmla="*/ 175927 h 175926"/>
                <a:gd name="connsiteX20" fmla="*/ 2097691 w 2351722"/>
                <a:gd name="connsiteY20" fmla="*/ 88678 h 175926"/>
                <a:gd name="connsiteX21" fmla="*/ 2011204 w 2351722"/>
                <a:gd name="connsiteY21" fmla="*/ 95 h 175926"/>
                <a:gd name="connsiteX22" fmla="*/ 2011204 w 2351722"/>
                <a:gd name="connsiteY22" fmla="*/ 95 h 175926"/>
                <a:gd name="connsiteX23" fmla="*/ 1808988 w 2351722"/>
                <a:gd name="connsiteY23" fmla="*/ 171545 h 175926"/>
                <a:gd name="connsiteX24" fmla="*/ 1808988 w 2351722"/>
                <a:gd name="connsiteY24" fmla="*/ 3048 h 175926"/>
                <a:gd name="connsiteX25" fmla="*/ 1777365 w 2351722"/>
                <a:gd name="connsiteY25" fmla="*/ 3048 h 175926"/>
                <a:gd name="connsiteX26" fmla="*/ 1777365 w 2351722"/>
                <a:gd name="connsiteY26" fmla="*/ 171545 h 175926"/>
                <a:gd name="connsiteX27" fmla="*/ 1808988 w 2351722"/>
                <a:gd name="connsiteY27" fmla="*/ 171545 h 175926"/>
                <a:gd name="connsiteX28" fmla="*/ 1584579 w 2351722"/>
                <a:gd name="connsiteY28" fmla="*/ 171545 h 175926"/>
                <a:gd name="connsiteX29" fmla="*/ 1616393 w 2351722"/>
                <a:gd name="connsiteY29" fmla="*/ 171545 h 175926"/>
                <a:gd name="connsiteX30" fmla="*/ 1616393 w 2351722"/>
                <a:gd name="connsiteY30" fmla="*/ 31909 h 175926"/>
                <a:gd name="connsiteX31" fmla="*/ 1669828 w 2351722"/>
                <a:gd name="connsiteY31" fmla="*/ 31909 h 175926"/>
                <a:gd name="connsiteX32" fmla="*/ 1669828 w 2351722"/>
                <a:gd name="connsiteY32" fmla="*/ 3334 h 175926"/>
                <a:gd name="connsiteX33" fmla="*/ 1531049 w 2351722"/>
                <a:gd name="connsiteY33" fmla="*/ 3334 h 175926"/>
                <a:gd name="connsiteX34" fmla="*/ 1531049 w 2351722"/>
                <a:gd name="connsiteY34" fmla="*/ 31909 h 175926"/>
                <a:gd name="connsiteX35" fmla="*/ 1584579 w 2351722"/>
                <a:gd name="connsiteY35" fmla="*/ 31909 h 175926"/>
                <a:gd name="connsiteX36" fmla="*/ 1584579 w 2351722"/>
                <a:gd name="connsiteY36" fmla="*/ 171545 h 175926"/>
                <a:gd name="connsiteX37" fmla="*/ 1404461 w 2351722"/>
                <a:gd name="connsiteY37" fmla="*/ 110204 h 175926"/>
                <a:gd name="connsiteX38" fmla="*/ 1341787 w 2351722"/>
                <a:gd name="connsiteY38" fmla="*/ 110204 h 175926"/>
                <a:gd name="connsiteX39" fmla="*/ 1373124 w 2351722"/>
                <a:gd name="connsiteY39" fmla="*/ 38195 h 175926"/>
                <a:gd name="connsiteX40" fmla="*/ 1404461 w 2351722"/>
                <a:gd name="connsiteY40" fmla="*/ 110204 h 175926"/>
                <a:gd name="connsiteX41" fmla="*/ 1431417 w 2351722"/>
                <a:gd name="connsiteY41" fmla="*/ 171545 h 175926"/>
                <a:gd name="connsiteX42" fmla="*/ 1466088 w 2351722"/>
                <a:gd name="connsiteY42" fmla="*/ 171545 h 175926"/>
                <a:gd name="connsiteX43" fmla="*/ 1390650 w 2351722"/>
                <a:gd name="connsiteY43" fmla="*/ 3048 h 175926"/>
                <a:gd name="connsiteX44" fmla="*/ 1355979 w 2351722"/>
                <a:gd name="connsiteY44" fmla="*/ 3048 h 175926"/>
                <a:gd name="connsiteX45" fmla="*/ 1280160 w 2351722"/>
                <a:gd name="connsiteY45" fmla="*/ 171545 h 175926"/>
                <a:gd name="connsiteX46" fmla="*/ 1314450 w 2351722"/>
                <a:gd name="connsiteY46" fmla="*/ 171545 h 175926"/>
                <a:gd name="connsiteX47" fmla="*/ 1328833 w 2351722"/>
                <a:gd name="connsiteY47" fmla="*/ 139827 h 175926"/>
                <a:gd name="connsiteX48" fmla="*/ 1417034 w 2351722"/>
                <a:gd name="connsiteY48" fmla="*/ 139827 h 175926"/>
                <a:gd name="connsiteX49" fmla="*/ 1431417 w 2351722"/>
                <a:gd name="connsiteY49" fmla="*/ 171545 h 175926"/>
                <a:gd name="connsiteX50" fmla="*/ 1069467 w 2351722"/>
                <a:gd name="connsiteY50" fmla="*/ 32861 h 175926"/>
                <a:gd name="connsiteX51" fmla="*/ 1104138 w 2351722"/>
                <a:gd name="connsiteY51" fmla="*/ 32861 h 175926"/>
                <a:gd name="connsiteX52" fmla="*/ 1156907 w 2351722"/>
                <a:gd name="connsiteY52" fmla="*/ 85439 h 175926"/>
                <a:gd name="connsiteX53" fmla="*/ 1104138 w 2351722"/>
                <a:gd name="connsiteY53" fmla="*/ 140970 h 175926"/>
                <a:gd name="connsiteX54" fmla="*/ 1069467 w 2351722"/>
                <a:gd name="connsiteY54" fmla="*/ 140970 h 175926"/>
                <a:gd name="connsiteX55" fmla="*/ 1069467 w 2351722"/>
                <a:gd name="connsiteY55" fmla="*/ 32861 h 175926"/>
                <a:gd name="connsiteX56" fmla="*/ 1104138 w 2351722"/>
                <a:gd name="connsiteY56" fmla="*/ 2762 h 175926"/>
                <a:gd name="connsiteX57" fmla="*/ 1038225 w 2351722"/>
                <a:gd name="connsiteY57" fmla="*/ 2762 h 175926"/>
                <a:gd name="connsiteX58" fmla="*/ 1038225 w 2351722"/>
                <a:gd name="connsiteY58" fmla="*/ 171545 h 175926"/>
                <a:gd name="connsiteX59" fmla="*/ 1104424 w 2351722"/>
                <a:gd name="connsiteY59" fmla="*/ 171545 h 175926"/>
                <a:gd name="connsiteX60" fmla="*/ 1188720 w 2351722"/>
                <a:gd name="connsiteY60" fmla="*/ 85820 h 175926"/>
                <a:gd name="connsiteX61" fmla="*/ 1104138 w 2351722"/>
                <a:gd name="connsiteY61" fmla="*/ 3048 h 175926"/>
                <a:gd name="connsiteX62" fmla="*/ 1104138 w 2351722"/>
                <a:gd name="connsiteY62" fmla="*/ 2762 h 175926"/>
                <a:gd name="connsiteX63" fmla="*/ 891064 w 2351722"/>
                <a:gd name="connsiteY63" fmla="*/ 107537 h 175926"/>
                <a:gd name="connsiteX64" fmla="*/ 808482 w 2351722"/>
                <a:gd name="connsiteY64" fmla="*/ 2762 h 175926"/>
                <a:gd name="connsiteX65" fmla="*/ 782669 w 2351722"/>
                <a:gd name="connsiteY65" fmla="*/ 2762 h 175926"/>
                <a:gd name="connsiteX66" fmla="*/ 782669 w 2351722"/>
                <a:gd name="connsiteY66" fmla="*/ 171545 h 175926"/>
                <a:gd name="connsiteX67" fmla="*/ 814483 w 2351722"/>
                <a:gd name="connsiteY67" fmla="*/ 171545 h 175926"/>
                <a:gd name="connsiteX68" fmla="*/ 814483 w 2351722"/>
                <a:gd name="connsiteY68" fmla="*/ 57245 h 175926"/>
                <a:gd name="connsiteX69" fmla="*/ 903065 w 2351722"/>
                <a:gd name="connsiteY69" fmla="*/ 171545 h 175926"/>
                <a:gd name="connsiteX70" fmla="*/ 922877 w 2351722"/>
                <a:gd name="connsiteY70" fmla="*/ 171545 h 175926"/>
                <a:gd name="connsiteX71" fmla="*/ 922877 w 2351722"/>
                <a:gd name="connsiteY71" fmla="*/ 3048 h 175926"/>
                <a:gd name="connsiteX72" fmla="*/ 891064 w 2351722"/>
                <a:gd name="connsiteY72" fmla="*/ 3048 h 175926"/>
                <a:gd name="connsiteX73" fmla="*/ 891064 w 2351722"/>
                <a:gd name="connsiteY73" fmla="*/ 107537 h 175926"/>
                <a:gd name="connsiteX74" fmla="*/ 629507 w 2351722"/>
                <a:gd name="connsiteY74" fmla="*/ 3334 h 175926"/>
                <a:gd name="connsiteX75" fmla="*/ 629507 w 2351722"/>
                <a:gd name="connsiteY75" fmla="*/ 100108 h 175926"/>
                <a:gd name="connsiteX76" fmla="*/ 588359 w 2351722"/>
                <a:gd name="connsiteY76" fmla="*/ 146590 h 175926"/>
                <a:gd name="connsiteX77" fmla="*/ 544735 w 2351722"/>
                <a:gd name="connsiteY77" fmla="*/ 100108 h 175926"/>
                <a:gd name="connsiteX78" fmla="*/ 544735 w 2351722"/>
                <a:gd name="connsiteY78" fmla="*/ 3524 h 175926"/>
                <a:gd name="connsiteX79" fmla="*/ 513207 w 2351722"/>
                <a:gd name="connsiteY79" fmla="*/ 3524 h 175926"/>
                <a:gd name="connsiteX80" fmla="*/ 513207 w 2351722"/>
                <a:gd name="connsiteY80" fmla="*/ 100108 h 175926"/>
                <a:gd name="connsiteX81" fmla="*/ 588074 w 2351722"/>
                <a:gd name="connsiteY81" fmla="*/ 175451 h 175926"/>
                <a:gd name="connsiteX82" fmla="*/ 661130 w 2351722"/>
                <a:gd name="connsiteY82" fmla="*/ 100108 h 175926"/>
                <a:gd name="connsiteX83" fmla="*/ 661130 w 2351722"/>
                <a:gd name="connsiteY83" fmla="*/ 3524 h 175926"/>
                <a:gd name="connsiteX84" fmla="*/ 629507 w 2351722"/>
                <a:gd name="connsiteY84" fmla="*/ 3334 h 175926"/>
                <a:gd name="connsiteX85" fmla="*/ 315182 w 2351722"/>
                <a:gd name="connsiteY85" fmla="*/ 28575 h 175926"/>
                <a:gd name="connsiteX86" fmla="*/ 370332 w 2351722"/>
                <a:gd name="connsiteY86" fmla="*/ 88868 h 175926"/>
                <a:gd name="connsiteX87" fmla="*/ 315182 w 2351722"/>
                <a:gd name="connsiteY87" fmla="*/ 146018 h 175926"/>
                <a:gd name="connsiteX88" fmla="*/ 259747 w 2351722"/>
                <a:gd name="connsiteY88" fmla="*/ 88868 h 175926"/>
                <a:gd name="connsiteX89" fmla="*/ 315278 w 2351722"/>
                <a:gd name="connsiteY89" fmla="*/ 28670 h 175926"/>
                <a:gd name="connsiteX90" fmla="*/ 315182 w 2351722"/>
                <a:gd name="connsiteY90" fmla="*/ 28575 h 175926"/>
                <a:gd name="connsiteX91" fmla="*/ 315182 w 2351722"/>
                <a:gd name="connsiteY91" fmla="*/ 0 h 175926"/>
                <a:gd name="connsiteX92" fmla="*/ 228505 w 2351722"/>
                <a:gd name="connsiteY92" fmla="*/ 88868 h 175926"/>
                <a:gd name="connsiteX93" fmla="*/ 315182 w 2351722"/>
                <a:gd name="connsiteY93" fmla="*/ 175831 h 175926"/>
                <a:gd name="connsiteX94" fmla="*/ 401669 w 2351722"/>
                <a:gd name="connsiteY94" fmla="*/ 88583 h 175926"/>
                <a:gd name="connsiteX95" fmla="*/ 315278 w 2351722"/>
                <a:gd name="connsiteY95" fmla="*/ 95 h 175926"/>
                <a:gd name="connsiteX96" fmla="*/ 315182 w 2351722"/>
                <a:gd name="connsiteY96" fmla="*/ 0 h 175926"/>
                <a:gd name="connsiteX97" fmla="*/ 31623 w 2351722"/>
                <a:gd name="connsiteY97" fmla="*/ 171545 h 175926"/>
                <a:gd name="connsiteX98" fmla="*/ 31623 w 2351722"/>
                <a:gd name="connsiteY98" fmla="*/ 109252 h 175926"/>
                <a:gd name="connsiteX99" fmla="*/ 116110 w 2351722"/>
                <a:gd name="connsiteY99" fmla="*/ 109252 h 175926"/>
                <a:gd name="connsiteX100" fmla="*/ 116110 w 2351722"/>
                <a:gd name="connsiteY100" fmla="*/ 80105 h 175926"/>
                <a:gd name="connsiteX101" fmla="*/ 31623 w 2351722"/>
                <a:gd name="connsiteY101" fmla="*/ 80105 h 175926"/>
                <a:gd name="connsiteX102" fmla="*/ 31623 w 2351722"/>
                <a:gd name="connsiteY102" fmla="*/ 34100 h 175926"/>
                <a:gd name="connsiteX103" fmla="*/ 120968 w 2351722"/>
                <a:gd name="connsiteY103" fmla="*/ 34100 h 175926"/>
                <a:gd name="connsiteX104" fmla="*/ 120968 w 2351722"/>
                <a:gd name="connsiteY104" fmla="*/ 3524 h 175926"/>
                <a:gd name="connsiteX105" fmla="*/ 0 w 2351722"/>
                <a:gd name="connsiteY105" fmla="*/ 3524 h 175926"/>
                <a:gd name="connsiteX106" fmla="*/ 0 w 2351722"/>
                <a:gd name="connsiteY106" fmla="*/ 171545 h 175926"/>
                <a:gd name="connsiteX107" fmla="*/ 31623 w 2351722"/>
                <a:gd name="connsiteY107" fmla="*/ 171545 h 17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2351722" h="175926">
                  <a:moveTo>
                    <a:pt x="2319909" y="107728"/>
                  </a:moveTo>
                  <a:lnTo>
                    <a:pt x="2237328" y="2953"/>
                  </a:lnTo>
                  <a:lnTo>
                    <a:pt x="2211515" y="2953"/>
                  </a:lnTo>
                  <a:lnTo>
                    <a:pt x="2211515" y="171545"/>
                  </a:lnTo>
                  <a:lnTo>
                    <a:pt x="2243328" y="171545"/>
                  </a:lnTo>
                  <a:lnTo>
                    <a:pt x="2243328" y="57245"/>
                  </a:lnTo>
                  <a:lnTo>
                    <a:pt x="2332006" y="171545"/>
                  </a:lnTo>
                  <a:lnTo>
                    <a:pt x="2351723" y="171545"/>
                  </a:lnTo>
                  <a:lnTo>
                    <a:pt x="2351723" y="3048"/>
                  </a:lnTo>
                  <a:lnTo>
                    <a:pt x="2319909" y="3048"/>
                  </a:lnTo>
                  <a:lnTo>
                    <a:pt x="2319909" y="107728"/>
                  </a:lnTo>
                  <a:close/>
                  <a:moveTo>
                    <a:pt x="2011204" y="28670"/>
                  </a:moveTo>
                  <a:cubicBezTo>
                    <a:pt x="2050923" y="28670"/>
                    <a:pt x="2066830" y="60484"/>
                    <a:pt x="2066354" y="88964"/>
                  </a:cubicBezTo>
                  <a:cubicBezTo>
                    <a:pt x="2065877" y="117443"/>
                    <a:pt x="2050923" y="146114"/>
                    <a:pt x="2011204" y="146114"/>
                  </a:cubicBezTo>
                  <a:cubicBezTo>
                    <a:pt x="1971485" y="146114"/>
                    <a:pt x="1956530" y="116491"/>
                    <a:pt x="1955864" y="88964"/>
                  </a:cubicBezTo>
                  <a:cubicBezTo>
                    <a:pt x="1955197" y="61436"/>
                    <a:pt x="1971675" y="28670"/>
                    <a:pt x="2011204" y="28670"/>
                  </a:cubicBezTo>
                  <a:lnTo>
                    <a:pt x="2011204" y="28670"/>
                  </a:lnTo>
                  <a:close/>
                  <a:moveTo>
                    <a:pt x="2011204" y="95"/>
                  </a:moveTo>
                  <a:cubicBezTo>
                    <a:pt x="1952911" y="95"/>
                    <a:pt x="1924526" y="44672"/>
                    <a:pt x="1924526" y="88964"/>
                  </a:cubicBezTo>
                  <a:cubicBezTo>
                    <a:pt x="1924526" y="133255"/>
                    <a:pt x="1951958" y="175927"/>
                    <a:pt x="2011204" y="175927"/>
                  </a:cubicBezTo>
                  <a:cubicBezTo>
                    <a:pt x="2070449" y="175927"/>
                    <a:pt x="2096929" y="132302"/>
                    <a:pt x="2097691" y="88678"/>
                  </a:cubicBezTo>
                  <a:cubicBezTo>
                    <a:pt x="2098453" y="45053"/>
                    <a:pt x="2069306" y="95"/>
                    <a:pt x="2011204" y="95"/>
                  </a:cubicBezTo>
                  <a:lnTo>
                    <a:pt x="2011204" y="95"/>
                  </a:lnTo>
                  <a:close/>
                  <a:moveTo>
                    <a:pt x="1808988" y="171545"/>
                  </a:moveTo>
                  <a:lnTo>
                    <a:pt x="1808988" y="3048"/>
                  </a:lnTo>
                  <a:lnTo>
                    <a:pt x="1777365" y="3048"/>
                  </a:lnTo>
                  <a:lnTo>
                    <a:pt x="1777365" y="171545"/>
                  </a:lnTo>
                  <a:lnTo>
                    <a:pt x="1808988" y="171545"/>
                  </a:lnTo>
                  <a:close/>
                  <a:moveTo>
                    <a:pt x="1584579" y="171545"/>
                  </a:moveTo>
                  <a:lnTo>
                    <a:pt x="1616393" y="171545"/>
                  </a:lnTo>
                  <a:lnTo>
                    <a:pt x="1616393" y="31909"/>
                  </a:lnTo>
                  <a:lnTo>
                    <a:pt x="1669828" y="31909"/>
                  </a:lnTo>
                  <a:lnTo>
                    <a:pt x="1669828" y="3334"/>
                  </a:lnTo>
                  <a:lnTo>
                    <a:pt x="1531049" y="3334"/>
                  </a:lnTo>
                  <a:lnTo>
                    <a:pt x="1531049" y="31909"/>
                  </a:lnTo>
                  <a:lnTo>
                    <a:pt x="1584579" y="31909"/>
                  </a:lnTo>
                  <a:lnTo>
                    <a:pt x="1584579" y="171545"/>
                  </a:lnTo>
                  <a:close/>
                  <a:moveTo>
                    <a:pt x="1404461" y="110204"/>
                  </a:moveTo>
                  <a:lnTo>
                    <a:pt x="1341787" y="110204"/>
                  </a:lnTo>
                  <a:lnTo>
                    <a:pt x="1373124" y="38195"/>
                  </a:lnTo>
                  <a:lnTo>
                    <a:pt x="1404461" y="110204"/>
                  </a:lnTo>
                  <a:close/>
                  <a:moveTo>
                    <a:pt x="1431417" y="171545"/>
                  </a:moveTo>
                  <a:lnTo>
                    <a:pt x="1466088" y="171545"/>
                  </a:lnTo>
                  <a:lnTo>
                    <a:pt x="1390650" y="3048"/>
                  </a:lnTo>
                  <a:lnTo>
                    <a:pt x="1355979" y="3048"/>
                  </a:lnTo>
                  <a:lnTo>
                    <a:pt x="1280160" y="171545"/>
                  </a:lnTo>
                  <a:lnTo>
                    <a:pt x="1314450" y="171545"/>
                  </a:lnTo>
                  <a:lnTo>
                    <a:pt x="1328833" y="139827"/>
                  </a:lnTo>
                  <a:lnTo>
                    <a:pt x="1417034" y="139827"/>
                  </a:lnTo>
                  <a:lnTo>
                    <a:pt x="1431417" y="171545"/>
                  </a:lnTo>
                  <a:close/>
                  <a:moveTo>
                    <a:pt x="1069467" y="32861"/>
                  </a:moveTo>
                  <a:lnTo>
                    <a:pt x="1104138" y="32861"/>
                  </a:lnTo>
                  <a:cubicBezTo>
                    <a:pt x="1140809" y="32861"/>
                    <a:pt x="1156145" y="59150"/>
                    <a:pt x="1156907" y="85439"/>
                  </a:cubicBezTo>
                  <a:cubicBezTo>
                    <a:pt x="1157668" y="111728"/>
                    <a:pt x="1142429" y="140970"/>
                    <a:pt x="1104138" y="140970"/>
                  </a:cubicBezTo>
                  <a:lnTo>
                    <a:pt x="1069467" y="140970"/>
                  </a:lnTo>
                  <a:lnTo>
                    <a:pt x="1069467" y="32861"/>
                  </a:lnTo>
                  <a:close/>
                  <a:moveTo>
                    <a:pt x="1104138" y="2762"/>
                  </a:moveTo>
                  <a:lnTo>
                    <a:pt x="1038225" y="2762"/>
                  </a:lnTo>
                  <a:lnTo>
                    <a:pt x="1038225" y="171545"/>
                  </a:lnTo>
                  <a:lnTo>
                    <a:pt x="1104424" y="171545"/>
                  </a:lnTo>
                  <a:cubicBezTo>
                    <a:pt x="1163479" y="171545"/>
                    <a:pt x="1189482" y="128492"/>
                    <a:pt x="1188720" y="85820"/>
                  </a:cubicBezTo>
                  <a:cubicBezTo>
                    <a:pt x="1187958" y="43148"/>
                    <a:pt x="1162050" y="3048"/>
                    <a:pt x="1104138" y="3048"/>
                  </a:cubicBezTo>
                  <a:lnTo>
                    <a:pt x="1104138" y="2762"/>
                  </a:lnTo>
                  <a:close/>
                  <a:moveTo>
                    <a:pt x="891064" y="107537"/>
                  </a:moveTo>
                  <a:lnTo>
                    <a:pt x="808482" y="2762"/>
                  </a:lnTo>
                  <a:lnTo>
                    <a:pt x="782669" y="2762"/>
                  </a:lnTo>
                  <a:lnTo>
                    <a:pt x="782669" y="171545"/>
                  </a:lnTo>
                  <a:lnTo>
                    <a:pt x="814483" y="171545"/>
                  </a:lnTo>
                  <a:lnTo>
                    <a:pt x="814483" y="57245"/>
                  </a:lnTo>
                  <a:lnTo>
                    <a:pt x="903065" y="171545"/>
                  </a:lnTo>
                  <a:lnTo>
                    <a:pt x="922877" y="171545"/>
                  </a:lnTo>
                  <a:lnTo>
                    <a:pt x="922877" y="3048"/>
                  </a:lnTo>
                  <a:lnTo>
                    <a:pt x="891064" y="3048"/>
                  </a:lnTo>
                  <a:lnTo>
                    <a:pt x="891064" y="107537"/>
                  </a:lnTo>
                  <a:close/>
                  <a:moveTo>
                    <a:pt x="629507" y="3334"/>
                  </a:moveTo>
                  <a:lnTo>
                    <a:pt x="629507" y="100108"/>
                  </a:lnTo>
                  <a:cubicBezTo>
                    <a:pt x="629507" y="128683"/>
                    <a:pt x="614648" y="146590"/>
                    <a:pt x="588359" y="146590"/>
                  </a:cubicBezTo>
                  <a:cubicBezTo>
                    <a:pt x="562070" y="146590"/>
                    <a:pt x="544735" y="130493"/>
                    <a:pt x="544735" y="100108"/>
                  </a:cubicBezTo>
                  <a:lnTo>
                    <a:pt x="544735" y="3524"/>
                  </a:lnTo>
                  <a:lnTo>
                    <a:pt x="513207" y="3524"/>
                  </a:lnTo>
                  <a:lnTo>
                    <a:pt x="513207" y="100108"/>
                  </a:lnTo>
                  <a:cubicBezTo>
                    <a:pt x="513207" y="150876"/>
                    <a:pt x="547688" y="175451"/>
                    <a:pt x="588074" y="175451"/>
                  </a:cubicBezTo>
                  <a:cubicBezTo>
                    <a:pt x="630460" y="175451"/>
                    <a:pt x="661130" y="149924"/>
                    <a:pt x="661130" y="100108"/>
                  </a:cubicBezTo>
                  <a:lnTo>
                    <a:pt x="661130" y="3524"/>
                  </a:lnTo>
                  <a:lnTo>
                    <a:pt x="629507" y="3334"/>
                  </a:lnTo>
                  <a:close/>
                  <a:moveTo>
                    <a:pt x="315182" y="28575"/>
                  </a:moveTo>
                  <a:cubicBezTo>
                    <a:pt x="354901" y="28575"/>
                    <a:pt x="370808" y="60389"/>
                    <a:pt x="370332" y="88868"/>
                  </a:cubicBezTo>
                  <a:cubicBezTo>
                    <a:pt x="369856" y="117348"/>
                    <a:pt x="354901" y="146018"/>
                    <a:pt x="315182" y="146018"/>
                  </a:cubicBezTo>
                  <a:cubicBezTo>
                    <a:pt x="275463" y="146018"/>
                    <a:pt x="260509" y="116396"/>
                    <a:pt x="259747" y="88868"/>
                  </a:cubicBezTo>
                  <a:cubicBezTo>
                    <a:pt x="258985" y="61341"/>
                    <a:pt x="275558" y="28670"/>
                    <a:pt x="315278" y="28670"/>
                  </a:cubicBezTo>
                  <a:lnTo>
                    <a:pt x="315182" y="28575"/>
                  </a:lnTo>
                  <a:close/>
                  <a:moveTo>
                    <a:pt x="315182" y="0"/>
                  </a:moveTo>
                  <a:cubicBezTo>
                    <a:pt x="256889" y="0"/>
                    <a:pt x="228505" y="44577"/>
                    <a:pt x="228505" y="88868"/>
                  </a:cubicBezTo>
                  <a:cubicBezTo>
                    <a:pt x="228505" y="133160"/>
                    <a:pt x="255937" y="175831"/>
                    <a:pt x="315182" y="175831"/>
                  </a:cubicBezTo>
                  <a:cubicBezTo>
                    <a:pt x="374428" y="175831"/>
                    <a:pt x="400907" y="132207"/>
                    <a:pt x="401669" y="88583"/>
                  </a:cubicBezTo>
                  <a:cubicBezTo>
                    <a:pt x="402431" y="44958"/>
                    <a:pt x="373285" y="95"/>
                    <a:pt x="315278" y="95"/>
                  </a:cubicBezTo>
                  <a:lnTo>
                    <a:pt x="315182" y="0"/>
                  </a:lnTo>
                  <a:close/>
                  <a:moveTo>
                    <a:pt x="31623" y="171545"/>
                  </a:moveTo>
                  <a:lnTo>
                    <a:pt x="31623" y="109252"/>
                  </a:lnTo>
                  <a:lnTo>
                    <a:pt x="116110" y="109252"/>
                  </a:lnTo>
                  <a:lnTo>
                    <a:pt x="116110" y="80105"/>
                  </a:lnTo>
                  <a:lnTo>
                    <a:pt x="31623" y="80105"/>
                  </a:lnTo>
                  <a:lnTo>
                    <a:pt x="31623" y="34100"/>
                  </a:lnTo>
                  <a:lnTo>
                    <a:pt x="120968" y="34100"/>
                  </a:lnTo>
                  <a:lnTo>
                    <a:pt x="120968" y="3524"/>
                  </a:lnTo>
                  <a:lnTo>
                    <a:pt x="0" y="3524"/>
                  </a:lnTo>
                  <a:lnTo>
                    <a:pt x="0" y="171545"/>
                  </a:lnTo>
                  <a:lnTo>
                    <a:pt x="31623" y="1715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" name="Freihandform: Form 45">
              <a:extLst>
                <a:ext uri="{FF2B5EF4-FFF2-40B4-BE49-F238E27FC236}">
                  <a16:creationId xmlns:a16="http://schemas.microsoft.com/office/drawing/2014/main" id="{52029103-2719-C9C1-5CC2-75E5E7361900}"/>
                </a:ext>
              </a:extLst>
            </p:cNvPr>
            <p:cNvSpPr/>
            <p:nvPr/>
          </p:nvSpPr>
          <p:spPr>
            <a:xfrm>
              <a:off x="4967287" y="3193256"/>
              <a:ext cx="2354865" cy="399002"/>
            </a:xfrm>
            <a:custGeom>
              <a:avLst/>
              <a:gdLst>
                <a:gd name="connsiteX0" fmla="*/ 2354866 w 2354865"/>
                <a:gd name="connsiteY0" fmla="*/ 319088 h 399002"/>
                <a:gd name="connsiteX1" fmla="*/ 2143697 w 2354865"/>
                <a:gd name="connsiteY1" fmla="*/ 319088 h 399002"/>
                <a:gd name="connsiteX2" fmla="*/ 2143697 w 2354865"/>
                <a:gd name="connsiteY2" fmla="*/ 234220 h 399002"/>
                <a:gd name="connsiteX3" fmla="*/ 2347341 w 2354865"/>
                <a:gd name="connsiteY3" fmla="*/ 234220 h 399002"/>
                <a:gd name="connsiteX4" fmla="*/ 2347341 w 2354865"/>
                <a:gd name="connsiteY4" fmla="*/ 168116 h 399002"/>
                <a:gd name="connsiteX5" fmla="*/ 2143697 w 2354865"/>
                <a:gd name="connsiteY5" fmla="*/ 168116 h 399002"/>
                <a:gd name="connsiteX6" fmla="*/ 2143697 w 2354865"/>
                <a:gd name="connsiteY6" fmla="*/ 81058 h 399002"/>
                <a:gd name="connsiteX7" fmla="*/ 2354866 w 2354865"/>
                <a:gd name="connsiteY7" fmla="*/ 81058 h 399002"/>
                <a:gd name="connsiteX8" fmla="*/ 2354866 w 2354865"/>
                <a:gd name="connsiteY8" fmla="*/ 12287 h 399002"/>
                <a:gd name="connsiteX9" fmla="*/ 2073307 w 2354865"/>
                <a:gd name="connsiteY9" fmla="*/ 12287 h 399002"/>
                <a:gd name="connsiteX10" fmla="*/ 2073307 w 2354865"/>
                <a:gd name="connsiteY10" fmla="*/ 388906 h 399002"/>
                <a:gd name="connsiteX11" fmla="*/ 2354866 w 2354865"/>
                <a:gd name="connsiteY11" fmla="*/ 388906 h 399002"/>
                <a:gd name="connsiteX12" fmla="*/ 2354866 w 2354865"/>
                <a:gd name="connsiteY12" fmla="*/ 319088 h 399002"/>
                <a:gd name="connsiteX13" fmla="*/ 1973866 w 2354865"/>
                <a:gd name="connsiteY13" fmla="*/ 74676 h 399002"/>
                <a:gd name="connsiteX14" fmla="*/ 1826133 w 2354865"/>
                <a:gd name="connsiteY14" fmla="*/ 0 h 399002"/>
                <a:gd name="connsiteX15" fmla="*/ 1680496 w 2354865"/>
                <a:gd name="connsiteY15" fmla="*/ 109538 h 399002"/>
                <a:gd name="connsiteX16" fmla="*/ 1828229 w 2354865"/>
                <a:gd name="connsiteY16" fmla="*/ 223838 h 399002"/>
                <a:gd name="connsiteX17" fmla="*/ 1915287 w 2354865"/>
                <a:gd name="connsiteY17" fmla="*/ 279178 h 399002"/>
                <a:gd name="connsiteX18" fmla="*/ 1828800 w 2354865"/>
                <a:gd name="connsiteY18" fmla="*/ 335566 h 399002"/>
                <a:gd name="connsiteX19" fmla="*/ 1722977 w 2354865"/>
                <a:gd name="connsiteY19" fmla="*/ 275939 h 399002"/>
                <a:gd name="connsiteX20" fmla="*/ 1663827 w 2354865"/>
                <a:gd name="connsiteY20" fmla="*/ 306610 h 399002"/>
                <a:gd name="connsiteX21" fmla="*/ 1827752 w 2354865"/>
                <a:gd name="connsiteY21" fmla="*/ 399002 h 399002"/>
                <a:gd name="connsiteX22" fmla="*/ 1985677 w 2354865"/>
                <a:gd name="connsiteY22" fmla="*/ 279178 h 399002"/>
                <a:gd name="connsiteX23" fmla="*/ 1834134 w 2354865"/>
                <a:gd name="connsiteY23" fmla="*/ 159353 h 399002"/>
                <a:gd name="connsiteX24" fmla="*/ 1750409 w 2354865"/>
                <a:gd name="connsiteY24" fmla="*/ 111728 h 399002"/>
                <a:gd name="connsiteX25" fmla="*/ 1828229 w 2354865"/>
                <a:gd name="connsiteY25" fmla="*/ 61722 h 399002"/>
                <a:gd name="connsiteX26" fmla="*/ 1917478 w 2354865"/>
                <a:gd name="connsiteY26" fmla="*/ 103632 h 399002"/>
                <a:gd name="connsiteX27" fmla="*/ 1973866 w 2354865"/>
                <a:gd name="connsiteY27" fmla="*/ 74676 h 399002"/>
                <a:gd name="connsiteX28" fmla="*/ 1465802 w 2354865"/>
                <a:gd name="connsiteY28" fmla="*/ 12287 h 399002"/>
                <a:gd name="connsiteX29" fmla="*/ 1288447 w 2354865"/>
                <a:gd name="connsiteY29" fmla="*/ 12287 h 399002"/>
                <a:gd name="connsiteX30" fmla="*/ 1288447 w 2354865"/>
                <a:gd name="connsiteY30" fmla="*/ 388906 h 399002"/>
                <a:gd name="connsiteX31" fmla="*/ 1359408 w 2354865"/>
                <a:gd name="connsiteY31" fmla="*/ 388906 h 399002"/>
                <a:gd name="connsiteX32" fmla="*/ 1359408 w 2354865"/>
                <a:gd name="connsiteY32" fmla="*/ 278225 h 399002"/>
                <a:gd name="connsiteX33" fmla="*/ 1465802 w 2354865"/>
                <a:gd name="connsiteY33" fmla="*/ 278225 h 399002"/>
                <a:gd name="connsiteX34" fmla="*/ 1465993 w 2354865"/>
                <a:gd name="connsiteY34" fmla="*/ 12287 h 399002"/>
                <a:gd name="connsiteX35" fmla="*/ 1465802 w 2354865"/>
                <a:gd name="connsiteY35" fmla="*/ 12287 h 399002"/>
                <a:gd name="connsiteX36" fmla="*/ 1359408 w 2354865"/>
                <a:gd name="connsiteY36" fmla="*/ 80010 h 399002"/>
                <a:gd name="connsiteX37" fmla="*/ 1465802 w 2354865"/>
                <a:gd name="connsiteY37" fmla="*/ 80010 h 399002"/>
                <a:gd name="connsiteX38" fmla="*/ 1465802 w 2354865"/>
                <a:gd name="connsiteY38" fmla="*/ 213360 h 399002"/>
                <a:gd name="connsiteX39" fmla="*/ 1359599 w 2354865"/>
                <a:gd name="connsiteY39" fmla="*/ 213360 h 399002"/>
                <a:gd name="connsiteX40" fmla="*/ 1359408 w 2354865"/>
                <a:gd name="connsiteY40" fmla="*/ 80010 h 399002"/>
                <a:gd name="connsiteX41" fmla="*/ 1187958 w 2354865"/>
                <a:gd name="connsiteY41" fmla="*/ 388906 h 399002"/>
                <a:gd name="connsiteX42" fmla="*/ 1187958 w 2354865"/>
                <a:gd name="connsiteY42" fmla="*/ 12287 h 399002"/>
                <a:gd name="connsiteX43" fmla="*/ 1117568 w 2354865"/>
                <a:gd name="connsiteY43" fmla="*/ 12287 h 399002"/>
                <a:gd name="connsiteX44" fmla="*/ 1117568 w 2354865"/>
                <a:gd name="connsiteY44" fmla="*/ 388906 h 399002"/>
                <a:gd name="connsiteX45" fmla="*/ 1187958 w 2354865"/>
                <a:gd name="connsiteY45" fmla="*/ 388906 h 399002"/>
                <a:gd name="connsiteX46" fmla="*/ 768858 w 2354865"/>
                <a:gd name="connsiteY46" fmla="*/ 12287 h 399002"/>
                <a:gd name="connsiteX47" fmla="*/ 768858 w 2354865"/>
                <a:gd name="connsiteY47" fmla="*/ 388906 h 399002"/>
                <a:gd name="connsiteX48" fmla="*/ 1033177 w 2354865"/>
                <a:gd name="connsiteY48" fmla="*/ 388906 h 399002"/>
                <a:gd name="connsiteX49" fmla="*/ 1033177 w 2354865"/>
                <a:gd name="connsiteY49" fmla="*/ 323374 h 399002"/>
                <a:gd name="connsiteX50" fmla="*/ 840296 w 2354865"/>
                <a:gd name="connsiteY50" fmla="*/ 323374 h 399002"/>
                <a:gd name="connsiteX51" fmla="*/ 840296 w 2354865"/>
                <a:gd name="connsiteY51" fmla="*/ 12287 h 399002"/>
                <a:gd name="connsiteX52" fmla="*/ 768858 w 2354865"/>
                <a:gd name="connsiteY52" fmla="*/ 12287 h 399002"/>
                <a:gd name="connsiteX53" fmla="*/ 652939 w 2354865"/>
                <a:gd name="connsiteY53" fmla="*/ 292894 h 399002"/>
                <a:gd name="connsiteX54" fmla="*/ 558451 w 2354865"/>
                <a:gd name="connsiteY54" fmla="*/ 330994 h 399002"/>
                <a:gd name="connsiteX55" fmla="*/ 428911 w 2354865"/>
                <a:gd name="connsiteY55" fmla="*/ 203645 h 399002"/>
                <a:gd name="connsiteX56" fmla="*/ 558451 w 2354865"/>
                <a:gd name="connsiteY56" fmla="*/ 73152 h 399002"/>
                <a:gd name="connsiteX57" fmla="*/ 649224 w 2354865"/>
                <a:gd name="connsiteY57" fmla="*/ 108585 h 399002"/>
                <a:gd name="connsiteX58" fmla="*/ 696849 w 2354865"/>
                <a:gd name="connsiteY58" fmla="*/ 62960 h 399002"/>
                <a:gd name="connsiteX59" fmla="*/ 558832 w 2354865"/>
                <a:gd name="connsiteY59" fmla="*/ 5810 h 399002"/>
                <a:gd name="connsiteX60" fmla="*/ 359474 w 2354865"/>
                <a:gd name="connsiteY60" fmla="*/ 204025 h 399002"/>
                <a:gd name="connsiteX61" fmla="*/ 558451 w 2354865"/>
                <a:gd name="connsiteY61" fmla="*/ 397669 h 399002"/>
                <a:gd name="connsiteX62" fmla="*/ 701326 w 2354865"/>
                <a:gd name="connsiteY62" fmla="*/ 341757 h 399002"/>
                <a:gd name="connsiteX63" fmla="*/ 652939 w 2354865"/>
                <a:gd name="connsiteY63" fmla="*/ 292894 h 399002"/>
                <a:gd name="connsiteX64" fmla="*/ 281464 w 2354865"/>
                <a:gd name="connsiteY64" fmla="*/ 319183 h 399002"/>
                <a:gd name="connsiteX65" fmla="*/ 70199 w 2354865"/>
                <a:gd name="connsiteY65" fmla="*/ 319183 h 399002"/>
                <a:gd name="connsiteX66" fmla="*/ 70199 w 2354865"/>
                <a:gd name="connsiteY66" fmla="*/ 234220 h 399002"/>
                <a:gd name="connsiteX67" fmla="*/ 273844 w 2354865"/>
                <a:gd name="connsiteY67" fmla="*/ 234220 h 399002"/>
                <a:gd name="connsiteX68" fmla="*/ 273844 w 2354865"/>
                <a:gd name="connsiteY68" fmla="*/ 168116 h 399002"/>
                <a:gd name="connsiteX69" fmla="*/ 70199 w 2354865"/>
                <a:gd name="connsiteY69" fmla="*/ 168116 h 399002"/>
                <a:gd name="connsiteX70" fmla="*/ 70199 w 2354865"/>
                <a:gd name="connsiteY70" fmla="*/ 81058 h 399002"/>
                <a:gd name="connsiteX71" fmla="*/ 281369 w 2354865"/>
                <a:gd name="connsiteY71" fmla="*/ 81058 h 399002"/>
                <a:gd name="connsiteX72" fmla="*/ 281369 w 2354865"/>
                <a:gd name="connsiteY72" fmla="*/ 12287 h 399002"/>
                <a:gd name="connsiteX73" fmla="*/ 0 w 2354865"/>
                <a:gd name="connsiteY73" fmla="*/ 12287 h 399002"/>
                <a:gd name="connsiteX74" fmla="*/ 0 w 2354865"/>
                <a:gd name="connsiteY74" fmla="*/ 388906 h 399002"/>
                <a:gd name="connsiteX75" fmla="*/ 281559 w 2354865"/>
                <a:gd name="connsiteY75" fmla="*/ 388906 h 399002"/>
                <a:gd name="connsiteX76" fmla="*/ 281464 w 2354865"/>
                <a:gd name="connsiteY76" fmla="*/ 319183 h 39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354865" h="399002">
                  <a:moveTo>
                    <a:pt x="2354866" y="319088"/>
                  </a:moveTo>
                  <a:lnTo>
                    <a:pt x="2143697" y="319088"/>
                  </a:lnTo>
                  <a:lnTo>
                    <a:pt x="2143697" y="234220"/>
                  </a:lnTo>
                  <a:lnTo>
                    <a:pt x="2347341" y="234220"/>
                  </a:lnTo>
                  <a:lnTo>
                    <a:pt x="2347341" y="168116"/>
                  </a:lnTo>
                  <a:lnTo>
                    <a:pt x="2143697" y="168116"/>
                  </a:lnTo>
                  <a:lnTo>
                    <a:pt x="2143697" y="81058"/>
                  </a:lnTo>
                  <a:lnTo>
                    <a:pt x="2354866" y="81058"/>
                  </a:lnTo>
                  <a:lnTo>
                    <a:pt x="2354866" y="12287"/>
                  </a:lnTo>
                  <a:lnTo>
                    <a:pt x="2073307" y="12287"/>
                  </a:lnTo>
                  <a:lnTo>
                    <a:pt x="2073307" y="388906"/>
                  </a:lnTo>
                  <a:lnTo>
                    <a:pt x="2354866" y="388906"/>
                  </a:lnTo>
                  <a:lnTo>
                    <a:pt x="2354866" y="319088"/>
                  </a:lnTo>
                  <a:close/>
                  <a:moveTo>
                    <a:pt x="1973866" y="74676"/>
                  </a:moveTo>
                  <a:cubicBezTo>
                    <a:pt x="1945291" y="16573"/>
                    <a:pt x="1884712" y="0"/>
                    <a:pt x="1826133" y="0"/>
                  </a:cubicBezTo>
                  <a:cubicBezTo>
                    <a:pt x="1756791" y="0"/>
                    <a:pt x="1680496" y="32194"/>
                    <a:pt x="1680496" y="109538"/>
                  </a:cubicBezTo>
                  <a:cubicBezTo>
                    <a:pt x="1680496" y="193929"/>
                    <a:pt x="1751457" y="214313"/>
                    <a:pt x="1828229" y="223838"/>
                  </a:cubicBezTo>
                  <a:cubicBezTo>
                    <a:pt x="1878235" y="229172"/>
                    <a:pt x="1915287" y="243745"/>
                    <a:pt x="1915287" y="279178"/>
                  </a:cubicBezTo>
                  <a:cubicBezTo>
                    <a:pt x="1915287" y="320040"/>
                    <a:pt x="1873377" y="335566"/>
                    <a:pt x="1828800" y="335566"/>
                  </a:cubicBezTo>
                  <a:cubicBezTo>
                    <a:pt x="1784223" y="335566"/>
                    <a:pt x="1739646" y="317278"/>
                    <a:pt x="1722977" y="275939"/>
                  </a:cubicBezTo>
                  <a:lnTo>
                    <a:pt x="1663827" y="306610"/>
                  </a:lnTo>
                  <a:cubicBezTo>
                    <a:pt x="1691831" y="375380"/>
                    <a:pt x="1750886" y="399002"/>
                    <a:pt x="1827752" y="399002"/>
                  </a:cubicBezTo>
                  <a:cubicBezTo>
                    <a:pt x="1911572" y="399002"/>
                    <a:pt x="1985677" y="362998"/>
                    <a:pt x="1985677" y="279178"/>
                  </a:cubicBezTo>
                  <a:cubicBezTo>
                    <a:pt x="1985677" y="189452"/>
                    <a:pt x="1912620" y="169069"/>
                    <a:pt x="1834134" y="159353"/>
                  </a:cubicBezTo>
                  <a:cubicBezTo>
                    <a:pt x="1789081" y="154019"/>
                    <a:pt x="1750409" y="144875"/>
                    <a:pt x="1750409" y="111728"/>
                  </a:cubicBezTo>
                  <a:cubicBezTo>
                    <a:pt x="1750409" y="83820"/>
                    <a:pt x="1775651" y="61722"/>
                    <a:pt x="1828229" y="61722"/>
                  </a:cubicBezTo>
                  <a:cubicBezTo>
                    <a:pt x="1869091" y="61722"/>
                    <a:pt x="1904429" y="82201"/>
                    <a:pt x="1917478" y="103632"/>
                  </a:cubicBezTo>
                  <a:lnTo>
                    <a:pt x="1973866" y="74676"/>
                  </a:lnTo>
                  <a:close/>
                  <a:moveTo>
                    <a:pt x="1465802" y="12287"/>
                  </a:moveTo>
                  <a:cubicBezTo>
                    <a:pt x="1406652" y="11811"/>
                    <a:pt x="1347597" y="12287"/>
                    <a:pt x="1288447" y="12287"/>
                  </a:cubicBezTo>
                  <a:lnTo>
                    <a:pt x="1288447" y="388906"/>
                  </a:lnTo>
                  <a:lnTo>
                    <a:pt x="1359408" y="388906"/>
                  </a:lnTo>
                  <a:lnTo>
                    <a:pt x="1359408" y="278225"/>
                  </a:lnTo>
                  <a:lnTo>
                    <a:pt x="1465802" y="278225"/>
                  </a:lnTo>
                  <a:cubicBezTo>
                    <a:pt x="1650206" y="278225"/>
                    <a:pt x="1649730" y="12287"/>
                    <a:pt x="1465993" y="12287"/>
                  </a:cubicBezTo>
                  <a:lnTo>
                    <a:pt x="1465802" y="12287"/>
                  </a:lnTo>
                  <a:close/>
                  <a:moveTo>
                    <a:pt x="1359408" y="80010"/>
                  </a:moveTo>
                  <a:lnTo>
                    <a:pt x="1465802" y="80010"/>
                  </a:lnTo>
                  <a:cubicBezTo>
                    <a:pt x="1556004" y="80010"/>
                    <a:pt x="1556576" y="213360"/>
                    <a:pt x="1465802" y="213360"/>
                  </a:cubicBezTo>
                  <a:lnTo>
                    <a:pt x="1359599" y="213360"/>
                  </a:lnTo>
                  <a:lnTo>
                    <a:pt x="1359408" y="80010"/>
                  </a:lnTo>
                  <a:close/>
                  <a:moveTo>
                    <a:pt x="1187958" y="388906"/>
                  </a:moveTo>
                  <a:lnTo>
                    <a:pt x="1187958" y="12287"/>
                  </a:lnTo>
                  <a:lnTo>
                    <a:pt x="1117568" y="12287"/>
                  </a:lnTo>
                  <a:lnTo>
                    <a:pt x="1117568" y="388906"/>
                  </a:lnTo>
                  <a:lnTo>
                    <a:pt x="1187958" y="388906"/>
                  </a:lnTo>
                  <a:close/>
                  <a:moveTo>
                    <a:pt x="768858" y="12287"/>
                  </a:moveTo>
                  <a:lnTo>
                    <a:pt x="768858" y="388906"/>
                  </a:lnTo>
                  <a:lnTo>
                    <a:pt x="1033177" y="388906"/>
                  </a:lnTo>
                  <a:lnTo>
                    <a:pt x="1033177" y="323374"/>
                  </a:lnTo>
                  <a:lnTo>
                    <a:pt x="840296" y="323374"/>
                  </a:lnTo>
                  <a:lnTo>
                    <a:pt x="840296" y="12287"/>
                  </a:lnTo>
                  <a:lnTo>
                    <a:pt x="768858" y="12287"/>
                  </a:lnTo>
                  <a:close/>
                  <a:moveTo>
                    <a:pt x="652939" y="292894"/>
                  </a:moveTo>
                  <a:cubicBezTo>
                    <a:pt x="627433" y="317146"/>
                    <a:pt x="593646" y="330770"/>
                    <a:pt x="558451" y="330994"/>
                  </a:cubicBezTo>
                  <a:cubicBezTo>
                    <a:pt x="465487" y="330994"/>
                    <a:pt x="429482" y="266033"/>
                    <a:pt x="428911" y="203645"/>
                  </a:cubicBezTo>
                  <a:cubicBezTo>
                    <a:pt x="428339" y="141256"/>
                    <a:pt x="467582" y="73152"/>
                    <a:pt x="558451" y="73152"/>
                  </a:cubicBezTo>
                  <a:cubicBezTo>
                    <a:pt x="592174" y="72658"/>
                    <a:pt x="624753" y="85375"/>
                    <a:pt x="649224" y="108585"/>
                  </a:cubicBezTo>
                  <a:lnTo>
                    <a:pt x="696849" y="62960"/>
                  </a:lnTo>
                  <a:cubicBezTo>
                    <a:pt x="660326" y="26236"/>
                    <a:pt x="610625" y="5656"/>
                    <a:pt x="558832" y="5810"/>
                  </a:cubicBezTo>
                  <a:cubicBezTo>
                    <a:pt x="422910" y="5810"/>
                    <a:pt x="358807" y="105727"/>
                    <a:pt x="359474" y="204025"/>
                  </a:cubicBezTo>
                  <a:cubicBezTo>
                    <a:pt x="360140" y="302324"/>
                    <a:pt x="419100" y="397669"/>
                    <a:pt x="558451" y="397669"/>
                  </a:cubicBezTo>
                  <a:cubicBezTo>
                    <a:pt x="611646" y="398945"/>
                    <a:pt x="663125" y="378799"/>
                    <a:pt x="701326" y="341757"/>
                  </a:cubicBezTo>
                  <a:lnTo>
                    <a:pt x="652939" y="292894"/>
                  </a:lnTo>
                  <a:close/>
                  <a:moveTo>
                    <a:pt x="281464" y="319183"/>
                  </a:moveTo>
                  <a:lnTo>
                    <a:pt x="70199" y="319183"/>
                  </a:lnTo>
                  <a:lnTo>
                    <a:pt x="70199" y="234220"/>
                  </a:lnTo>
                  <a:lnTo>
                    <a:pt x="273844" y="234220"/>
                  </a:lnTo>
                  <a:lnTo>
                    <a:pt x="273844" y="168116"/>
                  </a:lnTo>
                  <a:lnTo>
                    <a:pt x="70199" y="168116"/>
                  </a:lnTo>
                  <a:lnTo>
                    <a:pt x="70199" y="81058"/>
                  </a:lnTo>
                  <a:lnTo>
                    <a:pt x="281369" y="81058"/>
                  </a:lnTo>
                  <a:lnTo>
                    <a:pt x="281369" y="12287"/>
                  </a:lnTo>
                  <a:lnTo>
                    <a:pt x="0" y="12287"/>
                  </a:lnTo>
                  <a:lnTo>
                    <a:pt x="0" y="388906"/>
                  </a:lnTo>
                  <a:lnTo>
                    <a:pt x="281559" y="388906"/>
                  </a:lnTo>
                  <a:lnTo>
                    <a:pt x="281464" y="3191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" name="Freihandform: Form 46">
              <a:extLst>
                <a:ext uri="{FF2B5EF4-FFF2-40B4-BE49-F238E27FC236}">
                  <a16:creationId xmlns:a16="http://schemas.microsoft.com/office/drawing/2014/main" id="{67CAB865-EB52-2654-62F4-D9D1501952AE}"/>
                </a:ext>
              </a:extLst>
            </p:cNvPr>
            <p:cNvSpPr/>
            <p:nvPr/>
          </p:nvSpPr>
          <p:spPr>
            <a:xfrm>
              <a:off x="4756259" y="2993991"/>
              <a:ext cx="495920" cy="587789"/>
            </a:xfrm>
            <a:custGeom>
              <a:avLst/>
              <a:gdLst>
                <a:gd name="connsiteX0" fmla="*/ 93489 w 495920"/>
                <a:gd name="connsiteY0" fmla="*/ 173261 h 587789"/>
                <a:gd name="connsiteX1" fmla="*/ 495921 w 495920"/>
                <a:gd name="connsiteY1" fmla="*/ 56580 h 587789"/>
                <a:gd name="connsiteX2" fmla="*/ 486396 w 495920"/>
                <a:gd name="connsiteY2" fmla="*/ 50008 h 587789"/>
                <a:gd name="connsiteX3" fmla="*/ 50008 w 495920"/>
                <a:gd name="connsiteY3" fmla="*/ 145401 h 587789"/>
                <a:gd name="connsiteX4" fmla="*/ 145401 w 495920"/>
                <a:gd name="connsiteY4" fmla="*/ 581789 h 587789"/>
                <a:gd name="connsiteX5" fmla="*/ 155402 w 495920"/>
                <a:gd name="connsiteY5" fmla="*/ 587789 h 587789"/>
                <a:gd name="connsiteX6" fmla="*/ 93489 w 495920"/>
                <a:gd name="connsiteY6" fmla="*/ 173261 h 587789"/>
                <a:gd name="connsiteX7" fmla="*/ 93489 w 495920"/>
                <a:gd name="connsiteY7" fmla="*/ 173261 h 58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920" h="587789">
                  <a:moveTo>
                    <a:pt x="93489" y="173261"/>
                  </a:moveTo>
                  <a:cubicBezTo>
                    <a:pt x="179214" y="38959"/>
                    <a:pt x="352093" y="-7714"/>
                    <a:pt x="495921" y="56580"/>
                  </a:cubicBezTo>
                  <a:lnTo>
                    <a:pt x="486396" y="50008"/>
                  </a:lnTo>
                  <a:cubicBezTo>
                    <a:pt x="339548" y="-44155"/>
                    <a:pt x="144171" y="-1447"/>
                    <a:pt x="50008" y="145401"/>
                  </a:cubicBezTo>
                  <a:cubicBezTo>
                    <a:pt x="-44155" y="292248"/>
                    <a:pt x="-1447" y="487625"/>
                    <a:pt x="145401" y="581789"/>
                  </a:cubicBezTo>
                  <a:lnTo>
                    <a:pt x="155402" y="587789"/>
                  </a:lnTo>
                  <a:cubicBezTo>
                    <a:pt x="36625" y="483967"/>
                    <a:pt x="7288" y="307659"/>
                    <a:pt x="93489" y="173261"/>
                  </a:cubicBezTo>
                  <a:lnTo>
                    <a:pt x="93489" y="173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8" name="Freihandform: Form 47">
              <a:extLst>
                <a:ext uri="{FF2B5EF4-FFF2-40B4-BE49-F238E27FC236}">
                  <a16:creationId xmlns:a16="http://schemas.microsoft.com/office/drawing/2014/main" id="{1DF54505-87F8-F932-166B-1153CF7FF13A}"/>
                </a:ext>
              </a:extLst>
            </p:cNvPr>
            <p:cNvSpPr/>
            <p:nvPr/>
          </p:nvSpPr>
          <p:spPr>
            <a:xfrm>
              <a:off x="7348537" y="3198780"/>
              <a:ext cx="87249" cy="87248"/>
            </a:xfrm>
            <a:custGeom>
              <a:avLst/>
              <a:gdLst>
                <a:gd name="connsiteX0" fmla="*/ 0 w 87249"/>
                <a:gd name="connsiteY0" fmla="*/ 43625 h 87248"/>
                <a:gd name="connsiteX1" fmla="*/ 0 w 87249"/>
                <a:gd name="connsiteY1" fmla="*/ 43625 h 87248"/>
                <a:gd name="connsiteX2" fmla="*/ 43624 w 87249"/>
                <a:gd name="connsiteY2" fmla="*/ 0 h 87248"/>
                <a:gd name="connsiteX3" fmla="*/ 87249 w 87249"/>
                <a:gd name="connsiteY3" fmla="*/ 43625 h 87248"/>
                <a:gd name="connsiteX4" fmla="*/ 87249 w 87249"/>
                <a:gd name="connsiteY4" fmla="*/ 43625 h 87248"/>
                <a:gd name="connsiteX5" fmla="*/ 43624 w 87249"/>
                <a:gd name="connsiteY5" fmla="*/ 87249 h 87248"/>
                <a:gd name="connsiteX6" fmla="*/ 0 w 87249"/>
                <a:gd name="connsiteY6" fmla="*/ 43625 h 87248"/>
                <a:gd name="connsiteX7" fmla="*/ 0 w 87249"/>
                <a:gd name="connsiteY7" fmla="*/ 43625 h 87248"/>
                <a:gd name="connsiteX8" fmla="*/ 82201 w 87249"/>
                <a:gd name="connsiteY8" fmla="*/ 43625 h 87248"/>
                <a:gd name="connsiteX9" fmla="*/ 82201 w 87249"/>
                <a:gd name="connsiteY9" fmla="*/ 43625 h 87248"/>
                <a:gd name="connsiteX10" fmla="*/ 43624 w 87249"/>
                <a:gd name="connsiteY10" fmla="*/ 5048 h 87248"/>
                <a:gd name="connsiteX11" fmla="*/ 5048 w 87249"/>
                <a:gd name="connsiteY11" fmla="*/ 43625 h 87248"/>
                <a:gd name="connsiteX12" fmla="*/ 5048 w 87249"/>
                <a:gd name="connsiteY12" fmla="*/ 43625 h 87248"/>
                <a:gd name="connsiteX13" fmla="*/ 16100 w 87249"/>
                <a:gd name="connsiteY13" fmla="*/ 71231 h 87248"/>
                <a:gd name="connsiteX14" fmla="*/ 43624 w 87249"/>
                <a:gd name="connsiteY14" fmla="*/ 82487 h 87248"/>
                <a:gd name="connsiteX15" fmla="*/ 71296 w 87249"/>
                <a:gd name="connsiteY15" fmla="*/ 71066 h 87248"/>
                <a:gd name="connsiteX16" fmla="*/ 82582 w 87249"/>
                <a:gd name="connsiteY16" fmla="*/ 43339 h 87248"/>
                <a:gd name="connsiteX17" fmla="*/ 82201 w 87249"/>
                <a:gd name="connsiteY17" fmla="*/ 43625 h 87248"/>
                <a:gd name="connsiteX18" fmla="*/ 25622 w 87249"/>
                <a:gd name="connsiteY18" fmla="*/ 20098 h 87248"/>
                <a:gd name="connsiteX19" fmla="*/ 47625 w 87249"/>
                <a:gd name="connsiteY19" fmla="*/ 20098 h 87248"/>
                <a:gd name="connsiteX20" fmla="*/ 65913 w 87249"/>
                <a:gd name="connsiteY20" fmla="*/ 35147 h 87248"/>
                <a:gd name="connsiteX21" fmla="*/ 55531 w 87249"/>
                <a:gd name="connsiteY21" fmla="*/ 49244 h 87248"/>
                <a:gd name="connsiteX22" fmla="*/ 66675 w 87249"/>
                <a:gd name="connsiteY22" fmla="*/ 65151 h 87248"/>
                <a:gd name="connsiteX23" fmla="*/ 53435 w 87249"/>
                <a:gd name="connsiteY23" fmla="*/ 65151 h 87248"/>
                <a:gd name="connsiteX24" fmla="*/ 43910 w 87249"/>
                <a:gd name="connsiteY24" fmla="*/ 50864 h 87248"/>
                <a:gd name="connsiteX25" fmla="*/ 36862 w 87249"/>
                <a:gd name="connsiteY25" fmla="*/ 50864 h 87248"/>
                <a:gd name="connsiteX26" fmla="*/ 36862 w 87249"/>
                <a:gd name="connsiteY26" fmla="*/ 65151 h 87248"/>
                <a:gd name="connsiteX27" fmla="*/ 25908 w 87249"/>
                <a:gd name="connsiteY27" fmla="*/ 65151 h 87248"/>
                <a:gd name="connsiteX28" fmla="*/ 25622 w 87249"/>
                <a:gd name="connsiteY28" fmla="*/ 20098 h 87248"/>
                <a:gd name="connsiteX29" fmla="*/ 46101 w 87249"/>
                <a:gd name="connsiteY29" fmla="*/ 42101 h 87248"/>
                <a:gd name="connsiteX30" fmla="*/ 53912 w 87249"/>
                <a:gd name="connsiteY30" fmla="*/ 35909 h 87248"/>
                <a:gd name="connsiteX31" fmla="*/ 46101 w 87249"/>
                <a:gd name="connsiteY31" fmla="*/ 29623 h 87248"/>
                <a:gd name="connsiteX32" fmla="*/ 36576 w 87249"/>
                <a:gd name="connsiteY32" fmla="*/ 29623 h 87248"/>
                <a:gd name="connsiteX33" fmla="*/ 36576 w 87249"/>
                <a:gd name="connsiteY33" fmla="*/ 42101 h 87248"/>
                <a:gd name="connsiteX34" fmla="*/ 46101 w 87249"/>
                <a:gd name="connsiteY34" fmla="*/ 42101 h 8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7249" h="87248">
                  <a:moveTo>
                    <a:pt x="0" y="43625"/>
                  </a:moveTo>
                  <a:lnTo>
                    <a:pt x="0" y="43625"/>
                  </a:lnTo>
                  <a:cubicBezTo>
                    <a:pt x="0" y="19531"/>
                    <a:pt x="19531" y="0"/>
                    <a:pt x="43624" y="0"/>
                  </a:cubicBezTo>
                  <a:cubicBezTo>
                    <a:pt x="67718" y="0"/>
                    <a:pt x="87249" y="19531"/>
                    <a:pt x="87249" y="43625"/>
                  </a:cubicBezTo>
                  <a:lnTo>
                    <a:pt x="87249" y="43625"/>
                  </a:lnTo>
                  <a:cubicBezTo>
                    <a:pt x="87249" y="67718"/>
                    <a:pt x="67718" y="87249"/>
                    <a:pt x="43624" y="87249"/>
                  </a:cubicBezTo>
                  <a:cubicBezTo>
                    <a:pt x="19531" y="87249"/>
                    <a:pt x="0" y="67718"/>
                    <a:pt x="0" y="43625"/>
                  </a:cubicBezTo>
                  <a:lnTo>
                    <a:pt x="0" y="43625"/>
                  </a:lnTo>
                  <a:close/>
                  <a:moveTo>
                    <a:pt x="82201" y="43625"/>
                  </a:moveTo>
                  <a:lnTo>
                    <a:pt x="82201" y="43625"/>
                  </a:lnTo>
                  <a:cubicBezTo>
                    <a:pt x="82201" y="22319"/>
                    <a:pt x="64929" y="5048"/>
                    <a:pt x="43624" y="5048"/>
                  </a:cubicBezTo>
                  <a:cubicBezTo>
                    <a:pt x="22320" y="5048"/>
                    <a:pt x="5048" y="22319"/>
                    <a:pt x="5048" y="43625"/>
                  </a:cubicBezTo>
                  <a:lnTo>
                    <a:pt x="5048" y="43625"/>
                  </a:lnTo>
                  <a:cubicBezTo>
                    <a:pt x="4841" y="53944"/>
                    <a:pt x="8829" y="63906"/>
                    <a:pt x="16100" y="71231"/>
                  </a:cubicBezTo>
                  <a:cubicBezTo>
                    <a:pt x="23372" y="78556"/>
                    <a:pt x="33304" y="82618"/>
                    <a:pt x="43624" y="82487"/>
                  </a:cubicBezTo>
                  <a:cubicBezTo>
                    <a:pt x="54005" y="82538"/>
                    <a:pt x="63973" y="78424"/>
                    <a:pt x="71296" y="71066"/>
                  </a:cubicBezTo>
                  <a:cubicBezTo>
                    <a:pt x="78618" y="63707"/>
                    <a:pt x="82684" y="53719"/>
                    <a:pt x="82582" y="43339"/>
                  </a:cubicBezTo>
                  <a:lnTo>
                    <a:pt x="82201" y="43625"/>
                  </a:lnTo>
                  <a:close/>
                  <a:moveTo>
                    <a:pt x="25622" y="20098"/>
                  </a:moveTo>
                  <a:lnTo>
                    <a:pt x="47625" y="20098"/>
                  </a:lnTo>
                  <a:cubicBezTo>
                    <a:pt x="58198" y="20098"/>
                    <a:pt x="65913" y="24860"/>
                    <a:pt x="65913" y="35147"/>
                  </a:cubicBezTo>
                  <a:cubicBezTo>
                    <a:pt x="66215" y="41708"/>
                    <a:pt x="61886" y="47587"/>
                    <a:pt x="55531" y="49244"/>
                  </a:cubicBezTo>
                  <a:lnTo>
                    <a:pt x="66675" y="65151"/>
                  </a:lnTo>
                  <a:lnTo>
                    <a:pt x="53435" y="65151"/>
                  </a:lnTo>
                  <a:lnTo>
                    <a:pt x="43910" y="50864"/>
                  </a:lnTo>
                  <a:lnTo>
                    <a:pt x="36862" y="50864"/>
                  </a:lnTo>
                  <a:lnTo>
                    <a:pt x="36862" y="65151"/>
                  </a:lnTo>
                  <a:lnTo>
                    <a:pt x="25908" y="65151"/>
                  </a:lnTo>
                  <a:lnTo>
                    <a:pt x="25622" y="20098"/>
                  </a:lnTo>
                  <a:close/>
                  <a:moveTo>
                    <a:pt x="46101" y="42101"/>
                  </a:moveTo>
                  <a:cubicBezTo>
                    <a:pt x="51149" y="42101"/>
                    <a:pt x="53912" y="39624"/>
                    <a:pt x="53912" y="35909"/>
                  </a:cubicBezTo>
                  <a:cubicBezTo>
                    <a:pt x="53912" y="32194"/>
                    <a:pt x="50863" y="29623"/>
                    <a:pt x="46101" y="29623"/>
                  </a:cubicBezTo>
                  <a:lnTo>
                    <a:pt x="36576" y="29623"/>
                  </a:lnTo>
                  <a:lnTo>
                    <a:pt x="36576" y="42101"/>
                  </a:lnTo>
                  <a:lnTo>
                    <a:pt x="46101" y="421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62FDAA-F29A-7692-20D6-96CCCB1EB4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8804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6C2DD2-9955-5E2A-455E-A055C46368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35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D2151C-822A-5DB1-D19B-4CBE55F197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929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1E97B4-9F87-C3FD-D8E4-F277A05FFD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78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Business </a:t>
            </a:r>
            <a:r>
              <a:rPr lang="de-DE" dirty="0" err="1">
                <a:solidFill>
                  <a:srgbClr val="BBE9FF"/>
                </a:solidFill>
              </a:rPr>
              <a:t>case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8AFEE63A-245D-084F-8E3C-7E295B0B44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2123" y="1727919"/>
            <a:ext cx="1924050" cy="59055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27C2DEB-1673-760C-2336-EED6F13D11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62242" y="2319660"/>
            <a:ext cx="4058242" cy="1535368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F718B65-650D-E865-B0C4-E4C8A4BBCD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20484" y="4392215"/>
            <a:ext cx="2695575" cy="8763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A1DB907-EB54-D2C2-58B0-84C347A96E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98" y="4511816"/>
            <a:ext cx="3621202" cy="809805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C72CE0E-DFAD-B2A4-60CE-3BC3D640B5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20042" y="703611"/>
            <a:ext cx="1535369" cy="1535369"/>
          </a:xfrm>
          <a:prstGeom prst="rect">
            <a:avLst/>
          </a:prstGeom>
        </p:spPr>
      </p:pic>
      <p:pic>
        <p:nvPicPr>
          <p:cNvPr id="6145" name="Graphic 6144">
            <a:extLst>
              <a:ext uri="{FF2B5EF4-FFF2-40B4-BE49-F238E27FC236}">
                <a16:creationId xmlns:a16="http://schemas.microsoft.com/office/drawing/2014/main" id="{FC2C7543-C29D-8712-8304-A8B52C8EBB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8417" y="3211761"/>
            <a:ext cx="2793595" cy="772213"/>
          </a:xfrm>
          <a:prstGeom prst="rect">
            <a:avLst/>
          </a:prstGeom>
        </p:spPr>
      </p:pic>
      <p:pic>
        <p:nvPicPr>
          <p:cNvPr id="6147" name="Graphic 6146">
            <a:extLst>
              <a:ext uri="{FF2B5EF4-FFF2-40B4-BE49-F238E27FC236}">
                <a16:creationId xmlns:a16="http://schemas.microsoft.com/office/drawing/2014/main" id="{274321B9-339C-687D-A76C-597AC64BC0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24540" y="3087344"/>
            <a:ext cx="3259063" cy="962619"/>
          </a:xfrm>
          <a:prstGeom prst="rect">
            <a:avLst/>
          </a:prstGeom>
        </p:spPr>
      </p:pic>
      <p:pic>
        <p:nvPicPr>
          <p:cNvPr id="6151" name="Graphic 6150">
            <a:extLst>
              <a:ext uri="{FF2B5EF4-FFF2-40B4-BE49-F238E27FC236}">
                <a16:creationId xmlns:a16="http://schemas.microsoft.com/office/drawing/2014/main" id="{F8FCCB03-13F2-05A1-77B9-892ECDD6E6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68156" y="3924175"/>
            <a:ext cx="2509490" cy="936080"/>
          </a:xfrm>
          <a:prstGeom prst="rect">
            <a:avLst/>
          </a:prstGeom>
        </p:spPr>
      </p:pic>
      <p:pic>
        <p:nvPicPr>
          <p:cNvPr id="6153" name="Graphic 6152">
            <a:extLst>
              <a:ext uri="{FF2B5EF4-FFF2-40B4-BE49-F238E27FC236}">
                <a16:creationId xmlns:a16="http://schemas.microsoft.com/office/drawing/2014/main" id="{F2134DA9-673E-2B4D-5803-9D29BA147E4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929148" y="326463"/>
            <a:ext cx="192405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49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A92AC00-1458-4355-9315-DE22D0639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629C050-9E14-D1EF-8752-73A8D7EEB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548" y="2808039"/>
            <a:ext cx="2230717" cy="2230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B73CE8-68B5-868E-5AAA-9B35B6A80281}"/>
              </a:ext>
            </a:extLst>
          </p:cNvPr>
          <p:cNvSpPr txBox="1"/>
          <p:nvPr/>
        </p:nvSpPr>
        <p:spPr>
          <a:xfrm>
            <a:off x="7631686" y="409688"/>
            <a:ext cx="3960440" cy="2114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800"/>
              </a:spcBef>
            </a:pPr>
            <a:r>
              <a:rPr lang="en-US" sz="6000">
                <a:solidFill>
                  <a:schemeClr val="bg1"/>
                </a:solidFill>
              </a:rPr>
              <a:t>Many Thanks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B7ABFC2-6629-875B-B00B-070166F327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36" y="377768"/>
            <a:ext cx="7632849" cy="57246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39B1C-4AB4-4581-B867-267288ED5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37365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Project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Here</a:t>
                      </a:r>
                      <a:r>
                        <a:rPr lang="en-US" sz="1000" baseline="0" noProof="0" dirty="0"/>
                        <a:t> are the Title/Theme of the project/offer, incl. the project or offer number (if available)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0.1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Status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raft 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/ released </a:t>
                      </a:r>
                      <a:r>
                        <a:rPr lang="en-US" sz="1000" baseline="0" noProof="0" dirty="0">
                          <a:solidFill>
                            <a:srgbClr val="CCCCCC"/>
                          </a:solidFill>
                        </a:rPr>
                        <a:t>/ n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ot valid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nfidentiality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public / i</a:t>
                      </a:r>
                      <a:r>
                        <a:rPr lang="en-US" sz="1000" kern="1200" noProof="0" dirty="0">
                          <a:solidFill>
                            <a:srgbClr val="CCCCCC"/>
                          </a:solidFill>
                          <a:latin typeface="+mn-lt"/>
                          <a:ea typeface="+mn-ea"/>
                          <a:cs typeface="+mn-cs"/>
                        </a:rPr>
                        <a:t>nternal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 /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dential</a:t>
                      </a:r>
                      <a:r>
                        <a:rPr lang="en-US" sz="1000" strike="noStrike" noProof="0" dirty="0">
                          <a:solidFill>
                            <a:srgbClr val="CCCCCC"/>
                          </a:solidFill>
                        </a:rPr>
                        <a:t>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ept.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reat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XX-XXX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+49 XXXX XX</a:t>
                      </a:r>
                      <a:r>
                        <a:rPr lang="en-US" sz="1000" baseline="0" dirty="0"/>
                        <a:t>-XX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view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leas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 dirty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2306050"/>
            <a:ext cx="10440988" cy="2662825"/>
          </a:xfrm>
        </p:spPr>
        <p:txBody>
          <a:bodyPr/>
          <a:lstStyle/>
          <a:p>
            <a:r>
              <a:rPr lang="en-US" dirty="0"/>
              <a:t>Premise</a:t>
            </a:r>
            <a:br>
              <a:rPr lang="de-DE" dirty="0"/>
            </a:br>
            <a:r>
              <a:rPr lang="en-US" dirty="0"/>
              <a:t>Every humans life and health should be protected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Situ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343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664" y="359767"/>
            <a:ext cx="10441074" cy="720113"/>
          </a:xfrm>
        </p:spPr>
        <p:txBody>
          <a:bodyPr/>
          <a:lstStyle/>
          <a:p>
            <a:r>
              <a:rPr lang="en-US" sz="4800" dirty="0"/>
              <a:t>Hackathon challeng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CD9AA-2B4A-A78F-0661-A98D5AB29C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0" y="1295400"/>
            <a:ext cx="10440988" cy="704745"/>
          </a:xfrm>
        </p:spPr>
        <p:txBody>
          <a:bodyPr numCol="1"/>
          <a:lstStyle/>
          <a:p>
            <a:pPr marL="360612" lvl="2" indent="0">
              <a:buNone/>
            </a:pPr>
            <a:r>
              <a:rPr lang="en-US" sz="2000" dirty="0"/>
              <a:t>The goal of the challenge is to use the demonstrator car interfaces in combination with the </a:t>
            </a:r>
            <a:r>
              <a:rPr lang="en-US" sz="2000" dirty="0" err="1"/>
              <a:t>eCAL</a:t>
            </a:r>
            <a:r>
              <a:rPr lang="en-US" sz="2000" dirty="0"/>
              <a:t> middleware to develop a software to cover a scen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4D8285-397F-A51C-7D8C-9205410ADD6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17"/>
          <a:stretch/>
        </p:blipFill>
        <p:spPr>
          <a:xfrm rot="10800000">
            <a:off x="3368161" y="2215665"/>
            <a:ext cx="4784079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897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3089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122A1-75BB-4CD0-82EA-ED92046C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10046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DB356E49-AFAF-4D4E-AF41-1B69AFC9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3FA90D-2AD7-4A87-A70A-32B851B5E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8987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3ADC23-38F3-4A40-AEA5-C9788B533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93714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rgbClr val="FF73F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56D478-FD97-494A-AD83-ADE1F6D358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618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664" y="359767"/>
            <a:ext cx="10441074" cy="720113"/>
          </a:xfrm>
        </p:spPr>
        <p:txBody>
          <a:bodyPr/>
          <a:lstStyle/>
          <a:p>
            <a:r>
              <a:rPr lang="en-US" sz="4800" dirty="0"/>
              <a:t>Situ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CD9AA-2B4A-A78F-0661-A98D5AB29C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0" y="1295400"/>
            <a:ext cx="10440988" cy="4042132"/>
          </a:xfrm>
        </p:spPr>
        <p:txBody>
          <a:bodyPr numCol="2"/>
          <a:lstStyle/>
          <a:p>
            <a:pPr marL="0" indent="0">
              <a:buNone/>
            </a:pPr>
            <a:r>
              <a:rPr lang="en-US" sz="2000" dirty="0"/>
              <a:t>Increasing number of the traffic participants leads to</a:t>
            </a:r>
          </a:p>
          <a:p>
            <a:pPr lvl="1"/>
            <a:r>
              <a:rPr lang="en-US" sz="2000" dirty="0"/>
              <a:t>More data to capture</a:t>
            </a:r>
          </a:p>
          <a:p>
            <a:pPr lvl="1"/>
            <a:r>
              <a:rPr lang="en-US" sz="2000" dirty="0"/>
              <a:t>More conditions to check</a:t>
            </a:r>
          </a:p>
          <a:p>
            <a:pPr lvl="1"/>
            <a:r>
              <a:rPr lang="en-US" sz="2000" dirty="0"/>
              <a:t>Less time to react</a:t>
            </a:r>
          </a:p>
          <a:p>
            <a:pPr marL="0" indent="0">
              <a:buNone/>
            </a:pPr>
            <a:r>
              <a:rPr lang="en-US" sz="2000" dirty="0"/>
              <a:t>Traffic participants:</a:t>
            </a:r>
          </a:p>
          <a:p>
            <a:pPr lvl="1"/>
            <a:r>
              <a:rPr lang="en-US" sz="2000" dirty="0"/>
              <a:t>Moving vehicle </a:t>
            </a:r>
          </a:p>
          <a:p>
            <a:pPr lvl="1"/>
            <a:r>
              <a:rPr lang="en-US" sz="2000" dirty="0"/>
              <a:t>Pedestrian</a:t>
            </a:r>
          </a:p>
          <a:p>
            <a:pPr lvl="1"/>
            <a:r>
              <a:rPr lang="en-US" sz="2000" dirty="0"/>
              <a:t>Infrastructure</a:t>
            </a:r>
          </a:p>
          <a:p>
            <a:pPr marL="0" indent="0">
              <a:buNone/>
            </a:pPr>
            <a:r>
              <a:rPr lang="en-US" sz="2000" dirty="0"/>
              <a:t>Tasks</a:t>
            </a:r>
          </a:p>
          <a:p>
            <a:pPr lvl="1"/>
            <a:r>
              <a:rPr lang="en-US" sz="2000" dirty="0"/>
              <a:t>Capture environment</a:t>
            </a:r>
          </a:p>
          <a:p>
            <a:pPr lvl="1"/>
            <a:r>
              <a:rPr lang="en-US" sz="2000" dirty="0"/>
              <a:t>Make decisions</a:t>
            </a:r>
          </a:p>
          <a:p>
            <a:pPr lvl="1"/>
            <a:r>
              <a:rPr lang="en-US" sz="2000" dirty="0"/>
              <a:t>Prevent traffic accidences using</a:t>
            </a:r>
          </a:p>
          <a:p>
            <a:pPr lvl="2"/>
            <a:r>
              <a:rPr lang="en-US" sz="2000" dirty="0"/>
              <a:t>Acoustic and optic signals to warn other participants</a:t>
            </a:r>
          </a:p>
          <a:p>
            <a:pPr lvl="2"/>
            <a:r>
              <a:rPr lang="en-US" sz="2000" dirty="0"/>
              <a:t>Own action</a:t>
            </a:r>
          </a:p>
        </p:txBody>
      </p:sp>
    </p:spTree>
    <p:extLst>
      <p:ext uri="{BB962C8B-B14F-4D97-AF65-F5344CB8AC3E}">
        <p14:creationId xmlns:p14="http://schemas.microsoft.com/office/powerpoint/2010/main" val="1694490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826BA2A-5A2B-A6BD-3F3F-05FA6E1A318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720113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>
            <a:lvl1pPr algn="l" defTabSz="863995" rtl="0" eaLnBrk="1" latinLnBrk="0" hangingPunct="1">
              <a:lnSpc>
                <a:spcPct val="97000"/>
              </a:lnSpc>
              <a:spcBef>
                <a:spcPct val="0"/>
              </a:spcBef>
              <a:spcAft>
                <a:spcPts val="850"/>
              </a:spcAft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Aktiv Grotesk" panose="020B0504020202020204" pitchFamily="34" charset="0"/>
                <a:cs typeface="Aktiv Grotesk" panose="020B0504020202020204" pitchFamily="34" charset="0"/>
              </a:defRPr>
            </a:lvl1pPr>
          </a:lstStyle>
          <a:p>
            <a:r>
              <a:rPr lang="en-US" sz="4800" dirty="0"/>
              <a:t>Covered scenario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F449FF1-B80B-08C9-D0DB-9E8A35341ADC}"/>
              </a:ext>
            </a:extLst>
          </p:cNvPr>
          <p:cNvSpPr txBox="1">
            <a:spLocks/>
          </p:cNvSpPr>
          <p:nvPr/>
        </p:nvSpPr>
        <p:spPr>
          <a:xfrm>
            <a:off x="719664" y="1367879"/>
            <a:ext cx="5181600" cy="4351338"/>
          </a:xfrm>
          <a:prstGeom prst="rect">
            <a:avLst/>
          </a:prstGeom>
        </p:spPr>
        <p:txBody>
          <a:bodyPr/>
          <a:lstStyle>
            <a:lvl1pPr marL="18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54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72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90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Our car is parked on the street shoulder</a:t>
            </a:r>
          </a:p>
          <a:p>
            <a:r>
              <a:rPr lang="en-US" sz="2400" dirty="0"/>
              <a:t>An other car passed same street</a:t>
            </a:r>
          </a:p>
          <a:p>
            <a:r>
              <a:rPr lang="en-US" sz="2400" dirty="0"/>
              <a:t>A pedestrian is about to across</a:t>
            </a:r>
          </a:p>
          <a:p>
            <a:r>
              <a:rPr lang="en-US" sz="2400" dirty="0"/>
              <a:t>If there is a risk of an accident occurring</a:t>
            </a:r>
          </a:p>
          <a:p>
            <a:endParaRPr lang="en-US" sz="2400" dirty="0"/>
          </a:p>
          <a:p>
            <a:pPr lvl="1"/>
            <a:r>
              <a:rPr lang="en-US" sz="2400" dirty="0"/>
              <a:t>Raise a warning</a:t>
            </a:r>
          </a:p>
        </p:txBody>
      </p:sp>
      <p:pic>
        <p:nvPicPr>
          <p:cNvPr id="7" name="Content Placeholder 8">
            <a:extLst>
              <a:ext uri="{FF2B5EF4-FFF2-40B4-BE49-F238E27FC236}">
                <a16:creationId xmlns:a16="http://schemas.microsoft.com/office/drawing/2014/main" id="{90D2D9AE-9E66-82FB-D6E6-5ED1930F59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460" y="1111595"/>
            <a:ext cx="5407340" cy="17953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BCADD8-1E07-CEDD-FA2E-6DCDA35410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" t="23932" r="27981" b="12767"/>
          <a:stretch/>
        </p:blipFill>
        <p:spPr>
          <a:xfrm>
            <a:off x="5938421" y="3024063"/>
            <a:ext cx="5415379" cy="289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990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69B4B83-3C6B-D8DB-7664-EDD05E6FC265}"/>
              </a:ext>
            </a:extLst>
          </p:cNvPr>
          <p:cNvSpPr txBox="1">
            <a:spLocks/>
          </p:cNvSpPr>
          <p:nvPr/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863995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99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5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993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99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8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1984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982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598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Grafik 22">
            <a:extLst>
              <a:ext uri="{FF2B5EF4-FFF2-40B4-BE49-F238E27FC236}">
                <a16:creationId xmlns:a16="http://schemas.microsoft.com/office/drawing/2014/main" id="{90BB4B18-A5BD-80D8-3F48-2818BF627ED0}"/>
              </a:ext>
            </a:extLst>
          </p:cNvPr>
          <p:cNvPicPr/>
          <p:nvPr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1860B30-F427-0E7C-CD9D-24C0A1DE8F15}"/>
              </a:ext>
            </a:extLst>
          </p:cNvPr>
          <p:cNvSpPr txBox="1"/>
          <p:nvPr/>
        </p:nvSpPr>
        <p:spPr>
          <a:xfrm>
            <a:off x="539664" y="1336198"/>
            <a:ext cx="6012668" cy="4455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Extend the participant circle by introducing the third role Parked Ca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sensor array of the parked car to capture the environment to cover areas the other two don’t get y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Detect potential dangerous situ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parked car signal capabilities to warn both other participants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22871C06-46B9-193E-C71D-66741A845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068" y="4328878"/>
            <a:ext cx="733425" cy="72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13ABEE47-3E65-D43E-F91F-A96E9E5A2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9177" y="4312346"/>
            <a:ext cx="1571625" cy="7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FC9526-1CF6-23E2-8AA1-2A5559DFC2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424" y="1754659"/>
            <a:ext cx="2376264" cy="1210000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F4AB8728-E5E2-6536-4963-98C32A091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>
                <a:solidFill>
                  <a:srgbClr val="001A54"/>
                </a:solidFill>
              </a:rPr>
              <a:t>Approach</a:t>
            </a:r>
            <a:endParaRPr lang="en-US" dirty="0"/>
          </a:p>
        </p:txBody>
      </p:sp>
      <p:sp>
        <p:nvSpPr>
          <p:cNvPr id="17" name="Arrow: Left-Right 16">
            <a:extLst>
              <a:ext uri="{FF2B5EF4-FFF2-40B4-BE49-F238E27FC236}">
                <a16:creationId xmlns:a16="http://schemas.microsoft.com/office/drawing/2014/main" id="{DF7485E9-22FE-207A-EF44-F35AB5EEEE79}"/>
              </a:ext>
            </a:extLst>
          </p:cNvPr>
          <p:cNvSpPr/>
          <p:nvPr/>
        </p:nvSpPr>
        <p:spPr>
          <a:xfrm>
            <a:off x="7920484" y="4608239"/>
            <a:ext cx="1296144" cy="288032"/>
          </a:xfrm>
          <a:prstGeom prst="left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420D9AB6-023E-4AF6-8871-164FC81E22AA}"/>
              </a:ext>
            </a:extLst>
          </p:cNvPr>
          <p:cNvSpPr/>
          <p:nvPr/>
        </p:nvSpPr>
        <p:spPr>
          <a:xfrm rot="18371680">
            <a:off x="7123269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9" name="Arrow: Left-Right 18">
            <a:extLst>
              <a:ext uri="{FF2B5EF4-FFF2-40B4-BE49-F238E27FC236}">
                <a16:creationId xmlns:a16="http://schemas.microsoft.com/office/drawing/2014/main" id="{771BE631-53C5-40C2-E6E7-83B2E8204D18}"/>
              </a:ext>
            </a:extLst>
          </p:cNvPr>
          <p:cNvSpPr/>
          <p:nvPr/>
        </p:nvSpPr>
        <p:spPr>
          <a:xfrm rot="3053250">
            <a:off x="8568556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459778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r>
              <a:rPr lang="en-US">
                <a:solidFill>
                  <a:srgbClr val="FF73F9"/>
                </a:solidFill>
              </a:rPr>
              <a:t>Realiz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/>
              <a:t>Realiz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8DA61C-3FA2-2B58-E1B6-7A0B19D72FDF}"/>
              </a:ext>
            </a:extLst>
          </p:cNvPr>
          <p:cNvSpPr txBox="1"/>
          <p:nvPr/>
        </p:nvSpPr>
        <p:spPr>
          <a:xfrm>
            <a:off x="547090" y="1511895"/>
            <a:ext cx="5472608" cy="2653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Our primary focus in the realization of this tool is to implement the logic for detecting relevant objects and triggering a warning system in case of potential danger situations.</a:t>
            </a:r>
          </a:p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Both the sensor data and the warning system are provided by the given car over a high-level abstraction layer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228F471-C5D8-C9E5-EE2F-602D8A11224E}"/>
              </a:ext>
            </a:extLst>
          </p:cNvPr>
          <p:cNvSpPr/>
          <p:nvPr/>
        </p:nvSpPr>
        <p:spPr>
          <a:xfrm>
            <a:off x="6480324" y="1727919"/>
            <a:ext cx="792088" cy="792088"/>
          </a:xfrm>
          <a:prstGeom prst="rect">
            <a:avLst/>
          </a:prstGeom>
          <a:solidFill>
            <a:srgbClr val="FF7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Car </a:t>
            </a:r>
            <a:r>
              <a:rPr lang="de-DE" sz="1600" dirty="0" err="1"/>
              <a:t>data</a:t>
            </a:r>
            <a:endParaRPr lang="en-US" sz="1600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9B6EFA-7CFF-9E53-5AFB-0061277A7601}"/>
              </a:ext>
            </a:extLst>
          </p:cNvPr>
          <p:cNvSpPr/>
          <p:nvPr/>
        </p:nvSpPr>
        <p:spPr>
          <a:xfrm>
            <a:off x="9792692" y="1722840"/>
            <a:ext cx="1080120" cy="7920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 err="1"/>
              <a:t>Warning</a:t>
            </a:r>
            <a:endParaRPr lang="en-US" sz="16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B4B359-78B1-F4CB-F63D-556019662E74}"/>
              </a:ext>
            </a:extLst>
          </p:cNvPr>
          <p:cNvSpPr/>
          <p:nvPr/>
        </p:nvSpPr>
        <p:spPr>
          <a:xfrm>
            <a:off x="7704460" y="1722840"/>
            <a:ext cx="1656184" cy="79208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Guardian</a:t>
            </a:r>
          </a:p>
          <a:p>
            <a:pPr algn="ctr">
              <a:spcBef>
                <a:spcPts val="800"/>
              </a:spcBef>
            </a:pPr>
            <a:r>
              <a:rPr lang="de-DE" sz="1600" dirty="0"/>
              <a:t>Angel</a:t>
            </a:r>
            <a:endParaRPr lang="en-US" sz="1600" dirty="0" err="1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ECD6F81-5530-F579-FC43-ED89BB4CACF8}"/>
              </a:ext>
            </a:extLst>
          </p:cNvPr>
          <p:cNvCxnSpPr>
            <a:stCxn id="15" idx="3"/>
            <a:endCxn id="17" idx="1"/>
          </p:cNvCxnSpPr>
          <p:nvPr/>
        </p:nvCxnSpPr>
        <p:spPr>
          <a:xfrm flipV="1">
            <a:off x="7272412" y="2118884"/>
            <a:ext cx="432048" cy="50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1110B59-F6C8-B872-0008-BFB24B476243}"/>
              </a:ext>
            </a:extLst>
          </p:cNvPr>
          <p:cNvCxnSpPr>
            <a:stCxn id="17" idx="3"/>
            <a:endCxn id="16" idx="1"/>
          </p:cNvCxnSpPr>
          <p:nvPr/>
        </p:nvCxnSpPr>
        <p:spPr>
          <a:xfrm>
            <a:off x="9360644" y="2118884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: abgerundete Ecken 7">
            <a:extLst>
              <a:ext uri="{FF2B5EF4-FFF2-40B4-BE49-F238E27FC236}">
                <a16:creationId xmlns:a16="http://schemas.microsoft.com/office/drawing/2014/main" id="{DC62913A-2595-910A-51D8-EDE882B34DDE}"/>
              </a:ext>
            </a:extLst>
          </p:cNvPr>
          <p:cNvSpPr/>
          <p:nvPr/>
        </p:nvSpPr>
        <p:spPr>
          <a:xfrm>
            <a:off x="1151732" y="4620491"/>
            <a:ext cx="1512168" cy="72008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chemeClr val="bg1"/>
                </a:solidFill>
              </a:rPr>
              <a:t>eCAL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CarGateway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3" name="Rechteck: abgerundete Ecken 9">
            <a:extLst>
              <a:ext uri="{FF2B5EF4-FFF2-40B4-BE49-F238E27FC236}">
                <a16:creationId xmlns:a16="http://schemas.microsoft.com/office/drawing/2014/main" id="{4184CF5D-059F-B8A2-0250-90653956965A}"/>
              </a:ext>
            </a:extLst>
          </p:cNvPr>
          <p:cNvSpPr/>
          <p:nvPr/>
        </p:nvSpPr>
        <p:spPr>
          <a:xfrm>
            <a:off x="3005928" y="4620491"/>
            <a:ext cx="1656184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Coordinate</a:t>
            </a:r>
            <a:br>
              <a:rPr lang="de-DE" sz="1600" dirty="0">
                <a:solidFill>
                  <a:srgbClr val="080808"/>
                </a:solidFill>
              </a:rPr>
            </a:br>
            <a:r>
              <a:rPr lang="de-DE" sz="1600" dirty="0">
                <a:solidFill>
                  <a:srgbClr val="080808"/>
                </a:solidFill>
              </a:rPr>
              <a:t>Transformer</a:t>
            </a:r>
            <a:endParaRPr lang="de-DE" sz="1600" dirty="0"/>
          </a:p>
        </p:txBody>
      </p:sp>
      <p:sp>
        <p:nvSpPr>
          <p:cNvPr id="24" name="Rechteck: abgerundete Ecken 10">
            <a:extLst>
              <a:ext uri="{FF2B5EF4-FFF2-40B4-BE49-F238E27FC236}">
                <a16:creationId xmlns:a16="http://schemas.microsoft.com/office/drawing/2014/main" id="{D5170F93-6D41-FD97-4127-55E2F005AED2}"/>
              </a:ext>
            </a:extLst>
          </p:cNvPr>
          <p:cNvSpPr/>
          <p:nvPr/>
        </p:nvSpPr>
        <p:spPr>
          <a:xfrm>
            <a:off x="5004140" y="4620491"/>
            <a:ext cx="1152148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Detector</a:t>
            </a:r>
            <a:endParaRPr lang="de-DE" sz="1600" dirty="0"/>
          </a:p>
        </p:txBody>
      </p:sp>
      <p:sp>
        <p:nvSpPr>
          <p:cNvPr id="25" name="Rechteck: abgerundete Ecken 11">
            <a:extLst>
              <a:ext uri="{FF2B5EF4-FFF2-40B4-BE49-F238E27FC236}">
                <a16:creationId xmlns:a16="http://schemas.microsoft.com/office/drawing/2014/main" id="{24EA8D8B-2B93-A580-26EA-3BBB206DAFF6}"/>
              </a:ext>
            </a:extLst>
          </p:cNvPr>
          <p:cNvSpPr/>
          <p:nvPr/>
        </p:nvSpPr>
        <p:spPr>
          <a:xfrm>
            <a:off x="6498316" y="4620491"/>
            <a:ext cx="1774184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GuardianAngel</a:t>
            </a:r>
            <a:endParaRPr lang="de-DE" sz="1600" dirty="0"/>
          </a:p>
        </p:txBody>
      </p:sp>
      <p:sp>
        <p:nvSpPr>
          <p:cNvPr id="26" name="Rechteck: abgerundete Ecken 12">
            <a:extLst>
              <a:ext uri="{FF2B5EF4-FFF2-40B4-BE49-F238E27FC236}">
                <a16:creationId xmlns:a16="http://schemas.microsoft.com/office/drawing/2014/main" id="{AAA7EA23-0937-6B26-E187-3A5E1B84C798}"/>
              </a:ext>
            </a:extLst>
          </p:cNvPr>
          <p:cNvSpPr/>
          <p:nvPr/>
        </p:nvSpPr>
        <p:spPr>
          <a:xfrm>
            <a:off x="8838576" y="4620491"/>
            <a:ext cx="1728192" cy="72008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chemeClr val="bg1"/>
                </a:solidFill>
              </a:rPr>
              <a:t>eCAL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CarGateway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7" name="Rechteck: abgerundete Ecken 13">
            <a:extLst>
              <a:ext uri="{FF2B5EF4-FFF2-40B4-BE49-F238E27FC236}">
                <a16:creationId xmlns:a16="http://schemas.microsoft.com/office/drawing/2014/main" id="{EAFDA81B-ACBD-A222-A01B-D1C8C5DD35AC}"/>
              </a:ext>
            </a:extLst>
          </p:cNvPr>
          <p:cNvSpPr/>
          <p:nvPr/>
        </p:nvSpPr>
        <p:spPr>
          <a:xfrm>
            <a:off x="8842689" y="3424495"/>
            <a:ext cx="1728192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RemoteVehicle</a:t>
            </a:r>
            <a:endParaRPr lang="de-DE" sz="1600" dirty="0"/>
          </a:p>
        </p:txBody>
      </p:sp>
      <p:cxnSp>
        <p:nvCxnSpPr>
          <p:cNvPr id="28" name="Gerade Verbindung mit Pfeil 15">
            <a:extLst>
              <a:ext uri="{FF2B5EF4-FFF2-40B4-BE49-F238E27FC236}">
                <a16:creationId xmlns:a16="http://schemas.microsoft.com/office/drawing/2014/main" id="{293C1ADB-784A-1BB7-D278-D29CC83BB535}"/>
              </a:ext>
            </a:extLst>
          </p:cNvPr>
          <p:cNvCxnSpPr>
            <a:stCxn id="22" idx="3"/>
            <a:endCxn id="23" idx="1"/>
          </p:cNvCxnSpPr>
          <p:nvPr/>
        </p:nvCxnSpPr>
        <p:spPr>
          <a:xfrm>
            <a:off x="2663900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0">
            <a:extLst>
              <a:ext uri="{FF2B5EF4-FFF2-40B4-BE49-F238E27FC236}">
                <a16:creationId xmlns:a16="http://schemas.microsoft.com/office/drawing/2014/main" id="{5CD7C0D4-F3B1-0263-A1E8-CBFD31BEE62B}"/>
              </a:ext>
            </a:extLst>
          </p:cNvPr>
          <p:cNvCxnSpPr>
            <a:stCxn id="23" idx="3"/>
            <a:endCxn id="24" idx="1"/>
          </p:cNvCxnSpPr>
          <p:nvPr/>
        </p:nvCxnSpPr>
        <p:spPr>
          <a:xfrm>
            <a:off x="4662112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2">
            <a:extLst>
              <a:ext uri="{FF2B5EF4-FFF2-40B4-BE49-F238E27FC236}">
                <a16:creationId xmlns:a16="http://schemas.microsoft.com/office/drawing/2014/main" id="{936D8019-1632-342E-0612-429FFC4F00F0}"/>
              </a:ext>
            </a:extLst>
          </p:cNvPr>
          <p:cNvCxnSpPr>
            <a:stCxn id="24" idx="3"/>
            <a:endCxn id="25" idx="1"/>
          </p:cNvCxnSpPr>
          <p:nvPr/>
        </p:nvCxnSpPr>
        <p:spPr>
          <a:xfrm>
            <a:off x="6156288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24">
            <a:extLst>
              <a:ext uri="{FF2B5EF4-FFF2-40B4-BE49-F238E27FC236}">
                <a16:creationId xmlns:a16="http://schemas.microsoft.com/office/drawing/2014/main" id="{745C07AD-41FB-F15E-9DBE-E4228F99E528}"/>
              </a:ext>
            </a:extLst>
          </p:cNvPr>
          <p:cNvCxnSpPr>
            <a:stCxn id="25" idx="3"/>
            <a:endCxn id="26" idx="1"/>
          </p:cNvCxnSpPr>
          <p:nvPr/>
        </p:nvCxnSpPr>
        <p:spPr>
          <a:xfrm>
            <a:off x="8272500" y="4980531"/>
            <a:ext cx="56607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26">
            <a:extLst>
              <a:ext uri="{FF2B5EF4-FFF2-40B4-BE49-F238E27FC236}">
                <a16:creationId xmlns:a16="http://schemas.microsoft.com/office/drawing/2014/main" id="{4EEF1489-10EA-AC94-BBBA-F59075FD4EAB}"/>
              </a:ext>
            </a:extLst>
          </p:cNvPr>
          <p:cNvCxnSpPr>
            <a:stCxn id="25" idx="3"/>
            <a:endCxn id="27" idx="1"/>
          </p:cNvCxnSpPr>
          <p:nvPr/>
        </p:nvCxnSpPr>
        <p:spPr>
          <a:xfrm flipV="1">
            <a:off x="8272500" y="3784535"/>
            <a:ext cx="570189" cy="11959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321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Demonstr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1957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D27A50-EA4B-D5A8-2B04-205BCAFBE6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10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heme/theme1.xml><?xml version="1.0" encoding="utf-8"?>
<a:theme xmlns:a="http://schemas.openxmlformats.org/drawingml/2006/main" name="IAV">
  <a:themeElements>
    <a:clrScheme name="Benutzerdefiniert 12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30511_PPT_Template_US.pptx" id="{7AF309D3-EFD7-4773-8006-0D28FEDD7A61}" vid="{39AFB81D-636D-43B9-9E11-22B89636C1E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US</Template>
  <TotalTime>0</TotalTime>
  <Words>563</Words>
  <Application>Microsoft Office PowerPoint</Application>
  <PresentationFormat>Custom</PresentationFormat>
  <Paragraphs>147</Paragraphs>
  <Slides>24</Slides>
  <Notes>24</Notes>
  <HiddenSlides>9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Arial</vt:lpstr>
      <vt:lpstr>Calibri</vt:lpstr>
      <vt:lpstr>IAV</vt:lpstr>
      <vt:lpstr>think-cell Folie</vt:lpstr>
      <vt:lpstr>Guardian Angel</vt:lpstr>
      <vt:lpstr>Hackathon challenge</vt:lpstr>
      <vt:lpstr>Situation</vt:lpstr>
      <vt:lpstr>PowerPoint Presentation</vt:lpstr>
      <vt:lpstr>Approach</vt:lpstr>
      <vt:lpstr>Realization</vt:lpstr>
      <vt:lpstr>Realization</vt:lpstr>
      <vt:lpstr>Demonstration</vt:lpstr>
      <vt:lpstr>Insert Heading</vt:lpstr>
      <vt:lpstr>Insert Heading</vt:lpstr>
      <vt:lpstr>Insert Heading</vt:lpstr>
      <vt:lpstr>Insert Heading</vt:lpstr>
      <vt:lpstr>Insert Heading</vt:lpstr>
      <vt:lpstr>Business case</vt:lpstr>
      <vt:lpstr>PowerPoint Presentation</vt:lpstr>
      <vt:lpstr>Contact</vt:lpstr>
      <vt:lpstr>Control Information</vt:lpstr>
      <vt:lpstr>Premise Every humans life and health should be protected</vt:lpstr>
      <vt:lpstr>Situation</vt:lpstr>
      <vt:lpstr>Insert Heading</vt:lpstr>
      <vt:lpstr>PowerPoint Presentation</vt:lpstr>
      <vt:lpstr>PowerPoint Presentation</vt:lpstr>
      <vt:lpstr>PowerPoint Presentation</vt:lpstr>
      <vt:lpstr>PowerPoint Presentation</vt:lpstr>
    </vt:vector>
  </TitlesOfParts>
  <Manager>https://stages.iavgroup.local/stages/#/workspace/214/_vv/(process/guidance/__f-TwD-3sZGJeO_xYUcznA)</Manager>
  <Company>IA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rdian Angel</dc:title>
  <dc:creator>Spakowski, Pavel (TT-A)</dc:creator>
  <cp:keywords/>
  <dc:description>Test</dc:description>
  <cp:lastModifiedBy>Spakowski, Pavel (TT-A)</cp:lastModifiedBy>
  <cp:revision>18</cp:revision>
  <cp:lastPrinted>2020-08-14T12:42:29Z</cp:lastPrinted>
  <dcterms:created xsi:type="dcterms:W3CDTF">2023-11-30T09:58:30Z</dcterms:created>
  <dcterms:modified xsi:type="dcterms:W3CDTF">2023-11-30T13:12:40Z</dcterms:modified>
  <cp:category>Marke IAV</cp:category>
  <cp:version>338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